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7097" r:id="rId6"/>
    <p:sldId id="2147477098" r:id="rId7"/>
    <p:sldId id="2147477099" r:id="rId8"/>
    <p:sldId id="2147477100" r:id="rId9"/>
    <p:sldId id="2147477101" r:id="rId10"/>
    <p:sldId id="2147477102" r:id="rId11"/>
    <p:sldId id="2147477103" r:id="rId12"/>
    <p:sldId id="2147477104" r:id="rId13"/>
    <p:sldId id="2147477105" r:id="rId14"/>
    <p:sldId id="2147477106" r:id="rId15"/>
    <p:sldId id="2147477107" r:id="rId16"/>
    <p:sldId id="2147477108" r:id="rId17"/>
    <p:sldId id="2147477109" r:id="rId18"/>
    <p:sldId id="2147477110" r:id="rId19"/>
    <p:sldId id="2147477111" r:id="rId20"/>
    <p:sldId id="2147477112" r:id="rId21"/>
    <p:sldId id="2147477113" r:id="rId22"/>
    <p:sldId id="2147477114" r:id="rId23"/>
    <p:sldId id="2147477115" r:id="rId24"/>
    <p:sldId id="2147477116" r:id="rId25"/>
    <p:sldId id="2147477117" r:id="rId26"/>
    <p:sldId id="2147477118" r:id="rId27"/>
    <p:sldId id="2147477119" r:id="rId28"/>
    <p:sldId id="2147477120" r:id="rId29"/>
    <p:sldId id="2147477121" r:id="rId30"/>
    <p:sldId id="2147477122" r:id="rId31"/>
    <p:sldId id="2147477123" r:id="rId32"/>
    <p:sldId id="2147477124" r:id="rId33"/>
    <p:sldId id="2147477125" r:id="rId34"/>
    <p:sldId id="2147477126" r:id="rId35"/>
    <p:sldId id="2147477127" r:id="rId36"/>
    <p:sldId id="2147477128" r:id="rId37"/>
    <p:sldId id="2147477129" r:id="rId38"/>
    <p:sldId id="2147477130" r:id="rId39"/>
    <p:sldId id="2147477131" r:id="rId40"/>
    <p:sldId id="2147477132" r:id="rId41"/>
    <p:sldId id="2147477133" r:id="rId42"/>
    <p:sldId id="2147477134" r:id="rId43"/>
    <p:sldId id="2147477135" r:id="rId44"/>
    <p:sldId id="2147477136" r:id="rId45"/>
    <p:sldId id="2147477137" r:id="rId46"/>
    <p:sldId id="2147477138" r:id="rId47"/>
    <p:sldId id="2147477139" r:id="rId48"/>
    <p:sldId id="2147477140" r:id="rId49"/>
    <p:sldId id="2147477141" r:id="rId50"/>
    <p:sldId id="2147477142" r:id="rId51"/>
    <p:sldId id="2147477143" r:id="rId52"/>
    <p:sldId id="2147477144" r:id="rId53"/>
    <p:sldId id="2147477145" r:id="rId54"/>
    <p:sldId id="2147477146" r:id="rId55"/>
    <p:sldId id="2147477147" r:id="rId56"/>
    <p:sldId id="2147477148" r:id="rId57"/>
    <p:sldId id="2147477149" r:id="rId58"/>
    <p:sldId id="2147477150" r:id="rId59"/>
    <p:sldId id="2147477151" r:id="rId60"/>
    <p:sldId id="2147477152" r:id="rId61"/>
    <p:sldId id="2147477153" r:id="rId62"/>
    <p:sldId id="2147477154" r:id="rId63"/>
    <p:sldId id="2147477155" r:id="rId64"/>
    <p:sldId id="2147477156" r:id="rId65"/>
    <p:sldId id="2147477157" r:id="rId66"/>
    <p:sldId id="2147477158" r:id="rId67"/>
    <p:sldId id="2147477159" r:id="rId68"/>
    <p:sldId id="2147477160" r:id="rId69"/>
    <p:sldId id="2147477161" r:id="rId70"/>
    <p:sldId id="2147477162" r:id="rId71"/>
    <p:sldId id="2147477163" r:id="rId72"/>
    <p:sldId id="2147477164" r:id="rId73"/>
    <p:sldId id="2147477165" r:id="rId74"/>
    <p:sldId id="2147477166" r:id="rId75"/>
    <p:sldId id="2147477167" r:id="rId76"/>
    <p:sldId id="2147477168" r:id="rId77"/>
    <p:sldId id="2147477169" r:id="rId78"/>
    <p:sldId id="2147477170" r:id="rId79"/>
    <p:sldId id="2147477171" r:id="rId80"/>
    <p:sldId id="2147477172" r:id="rId81"/>
    <p:sldId id="2147477173" r:id="rId82"/>
    <p:sldId id="2147477174" r:id="rId83"/>
    <p:sldId id="2147477175" r:id="rId84"/>
    <p:sldId id="2147477176" r:id="rId85"/>
    <p:sldId id="2147477177" r:id="rId86"/>
    <p:sldId id="2147477178" r:id="rId87"/>
    <p:sldId id="2147477179" r:id="rId88"/>
    <p:sldId id="2147477180" r:id="rId89"/>
    <p:sldId id="2147477181" r:id="rId90"/>
    <p:sldId id="2147477182" r:id="rId91"/>
    <p:sldId id="2147477183" r:id="rId92"/>
    <p:sldId id="2147477184" r:id="rId93"/>
    <p:sldId id="2147477185" r:id="rId94"/>
    <p:sldId id="2147477186" r:id="rId95"/>
    <p:sldId id="2147477187" r:id="rId96"/>
    <p:sldId id="2147477188" r:id="rId97"/>
    <p:sldId id="2147477189" r:id="rId98"/>
    <p:sldId id="2147477190" r:id="rId99"/>
    <p:sldId id="2147477191" r:id="rId100"/>
    <p:sldId id="2147477192" r:id="rId101"/>
    <p:sldId id="2147477193" r:id="rId102"/>
    <p:sldId id="2147477194" r:id="rId103"/>
    <p:sldId id="2147477195" r:id="rId104"/>
    <p:sldId id="2147477196" r:id="rId105"/>
    <p:sldId id="2147477197" r:id="rId106"/>
    <p:sldId id="2147477198" r:id="rId107"/>
    <p:sldId id="2147477199" r:id="rId108"/>
    <p:sldId id="2147477200" r:id="rId109"/>
    <p:sldId id="2147477201" r:id="rId110"/>
    <p:sldId id="2147477202" r:id="rId111"/>
    <p:sldId id="2147477203" r:id="rId112"/>
    <p:sldId id="2147477204" r:id="rId113"/>
    <p:sldId id="2147477205" r:id="rId114"/>
    <p:sldId id="2147477206" r:id="rId115"/>
    <p:sldId id="2147477207" r:id="rId116"/>
    <p:sldId id="2147477208" r:id="rId117"/>
    <p:sldId id="2147477209" r:id="rId118"/>
    <p:sldId id="2147477210" r:id="rId119"/>
    <p:sldId id="2147477211" r:id="rId120"/>
    <p:sldId id="2147477212" r:id="rId121"/>
    <p:sldId id="2147477213" r:id="rId122"/>
    <p:sldId id="2147477214" r:id="rId123"/>
    <p:sldId id="2147477215" r:id="rId124"/>
    <p:sldId id="2147477216" r:id="rId125"/>
    <p:sldId id="2147477217" r:id="rId126"/>
    <p:sldId id="2147477218" r:id="rId127"/>
    <p:sldId id="2147477219" r:id="rId128"/>
    <p:sldId id="2147477220" r:id="rId129"/>
    <p:sldId id="2147477221" r:id="rId130"/>
    <p:sldId id="2147477222" r:id="rId131"/>
    <p:sldId id="2147477223" r:id="rId132"/>
    <p:sldId id="2147477224" r:id="rId133"/>
    <p:sldId id="2147477225" r:id="rId134"/>
    <p:sldId id="2147477226" r:id="rId135"/>
    <p:sldId id="2147477227" r:id="rId136"/>
    <p:sldId id="2147477228" r:id="rId137"/>
    <p:sldId id="2147477229" r:id="rId138"/>
    <p:sldId id="2147477230" r:id="rId139"/>
    <p:sldId id="2147477231" r:id="rId140"/>
    <p:sldId id="2147477232" r:id="rId141"/>
    <p:sldId id="2147477233" r:id="rId142"/>
    <p:sldId id="2147477234" r:id="rId143"/>
    <p:sldId id="2147477235" r:id="rId144"/>
    <p:sldId id="2147477236" r:id="rId145"/>
    <p:sldId id="2147477237" r:id="rId146"/>
    <p:sldId id="2147477238" r:id="rId147"/>
    <p:sldId id="2147477239" r:id="rId148"/>
    <p:sldId id="2147477240"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E117FFCC-3F13-4B0E-B16B-F5A5919B7AB2}">
          <p14:sldIdLst>
            <p14:sldId id="2147477097"/>
            <p14:sldId id="2147477098"/>
            <p14:sldId id="2147477099"/>
            <p14:sldId id="2147477100"/>
          </p14:sldIdLst>
        </p14:section>
        <p14:section name="Brand Sourcing Analysis" id="{E89A9B76-6CF7-4B83-8EF2-56291E25CB47}">
          <p14:sldIdLst>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 id="2147477117"/>
          </p14:sldIdLst>
        </p14:section>
        <p14:section name="Size Elasticity" id="{165A53C4-72C6-403F-9843-DC1B0B9C865C}">
          <p14:sldIdLst>
            <p14:sldId id="2147477118"/>
            <p14:sldId id="2147477119"/>
            <p14:sldId id="2147477120"/>
            <p14:sldId id="2147477121"/>
            <p14:sldId id="2147477122"/>
          </p14:sldIdLst>
        </p14:section>
        <p14:section name="PE, Revenue Responses, Sourcing by product" id="{4F6A4F2F-1EAC-4B3D-9C63-5C3AB91764F1}">
          <p14:sldIdLst>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81" d="100"/>
          <a:sy n="81" d="100"/>
        </p:scale>
        <p:origin x="62" y="36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48</c:v>
                </c:pt>
                <c:pt idx="3">
                  <c:v>-0.5978805409323199</c:v>
                </c:pt>
                <c:pt idx="4">
                  <c:v>-1.5937328173380765</c:v>
                </c:pt>
                <c:pt idx="5">
                  <c:v>-1.7261963092372712</c:v>
                </c:pt>
                <c:pt idx="6">
                  <c:v>-0.69246705548586285</c:v>
                </c:pt>
                <c:pt idx="7">
                  <c:v>-0.99216527602380722</c:v>
                </c:pt>
                <c:pt idx="8">
                  <c:v>-1.2475584832552082</c:v>
                </c:pt>
                <c:pt idx="9">
                  <c:v>-2.3255702429900147</c:v>
                </c:pt>
                <c:pt idx="10">
                  <c:v>-1.9319533657228816</c:v>
                </c:pt>
                <c:pt idx="11">
                  <c:v>-2.320534821779261</c:v>
                </c:pt>
                <c:pt idx="12">
                  <c:v>-0.99474274873543733</c:v>
                </c:pt>
                <c:pt idx="13">
                  <c:v>-2.3580397576558831</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5</c:v>
                </c:pt>
                <c:pt idx="2">
                  <c:v>-1.298921919123508</c:v>
                </c:pt>
                <c:pt idx="3">
                  <c:v>-1.975555267252938</c:v>
                </c:pt>
                <c:pt idx="4">
                  <c:v>-1.1187926942460193</c:v>
                </c:pt>
                <c:pt idx="5">
                  <c:v>-1.9069465395787533</c:v>
                </c:pt>
                <c:pt idx="6">
                  <c:v>-0.57805817737053666</c:v>
                </c:pt>
                <c:pt idx="7">
                  <c:v>-0.99226906458635877</c:v>
                </c:pt>
                <c:pt idx="8">
                  <c:v>-1.2954597165825021</c:v>
                </c:pt>
                <c:pt idx="9">
                  <c:v>-1.8229064242910398</c:v>
                </c:pt>
                <c:pt idx="10">
                  <c:v>-1.0826881318730208</c:v>
                </c:pt>
                <c:pt idx="11">
                  <c:v>-0.87353531055736244</c:v>
                </c:pt>
                <c:pt idx="12">
                  <c:v>-0.63546490393672572</c:v>
                </c:pt>
                <c:pt idx="13">
                  <c:v>-0.67957307532991751</c:v>
                </c:pt>
                <c:pt idx="14">
                  <c:v>-0.87172963207545384</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3"/>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2"/>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89</c:v>
                </c:pt>
                <c:pt idx="1">
                  <c:v>0.28374123346161434</c:v>
                </c:pt>
                <c:pt idx="2">
                  <c:v>0.10557060063496233</c:v>
                </c:pt>
                <c:pt idx="3">
                  <c:v>9.4910505458793454E-2</c:v>
                </c:pt>
                <c:pt idx="4">
                  <c:v>2.0985217449211929E-2</c:v>
                </c:pt>
                <c:pt idx="5">
                  <c:v>1.8737543987285086E-2</c:v>
                </c:pt>
                <c:pt idx="6">
                  <c:v>1.0787648747206753E-2</c:v>
                </c:pt>
                <c:pt idx="7">
                  <c:v>1.0250546869451874E-2</c:v>
                </c:pt>
                <c:pt idx="8">
                  <c:v>7.0722921554834638E-3</c:v>
                </c:pt>
                <c:pt idx="9">
                  <c:v>6.5768476710323853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9.1158620683290878E-2</c:v>
                </c:pt>
                <c:pt idx="1">
                  <c:v>5.2777759695425426E-2</c:v>
                </c:pt>
                <c:pt idx="2">
                  <c:v>5.0485880822529437E-2</c:v>
                </c:pt>
                <c:pt idx="3">
                  <c:v>4.689592020995284E-2</c:v>
                </c:pt>
                <c:pt idx="4">
                  <c:v>4.2978502095055909E-2</c:v>
                </c:pt>
                <c:pt idx="5">
                  <c:v>3.691654553120164E-2</c:v>
                </c:pt>
                <c:pt idx="6">
                  <c:v>3.4885460572392647E-2</c:v>
                </c:pt>
                <c:pt idx="7">
                  <c:v>3.4615485714267105E-2</c:v>
                </c:pt>
                <c:pt idx="8">
                  <c:v>2.7223972716819499E-2</c:v>
                </c:pt>
                <c:pt idx="9">
                  <c:v>2.65545731181974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1</c:v>
                </c:pt>
                <c:pt idx="2">
                  <c:v>0</c:v>
                </c:pt>
                <c:pt idx="3">
                  <c:v>-7.0665314328809903E-2</c:v>
                </c:pt>
                <c:pt idx="4">
                  <c:v>-0.1291848136803757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07</c:v>
                </c:pt>
                <c:pt idx="1">
                  <c:v>0.14533139688754051</c:v>
                </c:pt>
                <c:pt idx="2">
                  <c:v>0</c:v>
                </c:pt>
                <c:pt idx="3">
                  <c:v>-8.343590035611971E-2</c:v>
                </c:pt>
                <c:pt idx="4">
                  <c:v>-0.1550470352876822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48</c:v>
                </c:pt>
                <c:pt idx="1">
                  <c:v>0.16096699712974555</c:v>
                </c:pt>
                <c:pt idx="2">
                  <c:v>0</c:v>
                </c:pt>
                <c:pt idx="3">
                  <c:v>-7.0928932472834924E-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
          <c:min val="29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3.87005146127686</c:v>
                </c:pt>
                <c:pt idx="1">
                  <c:v>124.96630750770829</c:v>
                </c:pt>
                <c:pt idx="2">
                  <c:v>117.65531047245987</c:v>
                </c:pt>
                <c:pt idx="3">
                  <c:v>112.43784847018151</c:v>
                </c:pt>
                <c:pt idx="4">
                  <c:v>108.16970960725179</c:v>
                </c:pt>
                <c:pt idx="5">
                  <c:v>104.58852814729465</c:v>
                </c:pt>
                <c:pt idx="6">
                  <c:v>102.93500243505038</c:v>
                </c:pt>
                <c:pt idx="7">
                  <c:v>101.41189939402366</c:v>
                </c:pt>
                <c:pt idx="8">
                  <c:v>100</c:v>
                </c:pt>
                <c:pt idx="9">
                  <c:v>98.68378295442119</c:v>
                </c:pt>
                <c:pt idx="10">
                  <c:v>97.130607725933658</c:v>
                </c:pt>
                <c:pt idx="11">
                  <c:v>95.649452586299773</c:v>
                </c:pt>
                <c:pt idx="12">
                  <c:v>94.233579837131202</c:v>
                </c:pt>
                <c:pt idx="13">
                  <c:v>93.788280901196458</c:v>
                </c:pt>
                <c:pt idx="14">
                  <c:v>93.355168914425718</c:v>
                </c:pt>
                <c:pt idx="15">
                  <c:v>92.933468567118979</c:v>
                </c:pt>
                <c:pt idx="16">
                  <c:v>92.52248278094774</c:v>
                </c:pt>
                <c:pt idx="17">
                  <c:v>92.121582244600944</c:v>
                </c:pt>
                <c:pt idx="18">
                  <c:v>91.730196620785335</c:v>
                </c:pt>
                <c:pt idx="19">
                  <c:v>91.347807125012267</c:v>
                </c:pt>
                <c:pt idx="20">
                  <c:v>89.160977659416076</c:v>
                </c:pt>
                <c:pt idx="21">
                  <c:v>87.0815186319623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5</c:v>
                </c:pt>
                <c:pt idx="6">
                  <c:v>99.820655463813779</c:v>
                </c:pt>
                <c:pt idx="7">
                  <c:v>99.877859758733649</c:v>
                </c:pt>
                <c:pt idx="8">
                  <c:v>100</c:v>
                </c:pt>
                <c:pt idx="9">
                  <c:v>100.17639281852526</c:v>
                </c:pt>
                <c:pt idx="10">
                  <c:v>100.06881159411209</c:v>
                </c:pt>
                <c:pt idx="11">
                  <c:v>99.989474768270355</c:v>
                </c:pt>
                <c:pt idx="12">
                  <c:v>99.934512556281192</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8.81842569032708</c:v>
                </c:pt>
                <c:pt idx="1">
                  <c:v>104.50405330258963</c:v>
                </c:pt>
                <c:pt idx="2">
                  <c:v>101.14233701939328</c:v>
                </c:pt>
                <c:pt idx="3">
                  <c:v>99.287264790247548</c:v>
                </c:pt>
                <c:pt idx="4">
                  <c:v>98.04859941399458</c:v>
                </c:pt>
                <c:pt idx="5">
                  <c:v>97.249005681813344</c:v>
                </c:pt>
                <c:pt idx="6">
                  <c:v>98.119345139810306</c:v>
                </c:pt>
                <c:pt idx="7">
                  <c:v>99.039698774272637</c:v>
                </c:pt>
                <c:pt idx="8">
                  <c:v>1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1</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59914027789993407</c:v>
                </c:pt>
                <c:pt idx="1">
                  <c:v>0.60593451047790137</c:v>
                </c:pt>
                <c:pt idx="2">
                  <c:v>0.61250226863660284</c:v>
                </c:pt>
                <c:pt idx="3">
                  <c:v>0.6188546904622324</c:v>
                </c:pt>
                <c:pt idx="4">
                  <c:v>0.62500219545477709</c:v>
                </c:pt>
                <c:pt idx="5">
                  <c:v>0.63095454155866948</c:v>
                </c:pt>
                <c:pt idx="6">
                  <c:v>0.63672087684681533</c:v>
                </c:pt>
                <c:pt idx="7">
                  <c:v>0.64230978643378733</c:v>
                </c:pt>
                <c:pt idx="8">
                  <c:v>0.6477293351241844</c:v>
                </c:pt>
                <c:pt idx="9">
                  <c:v>0.65298710624173395</c:v>
                </c:pt>
                <c:pt idx="10">
                  <c:v>0.65809023703229674</c:v>
                </c:pt>
                <c:pt idx="11">
                  <c:v>0.66304545098835033</c:v>
                </c:pt>
                <c:pt idx="12">
                  <c:v>0.66785908740280253</c:v>
                </c:pt>
                <c:pt idx="13">
                  <c:v>0.67253712842529823</c:v>
                </c:pt>
                <c:pt idx="14">
                  <c:v>0.67708522386383563</c:v>
                </c:pt>
                <c:pt idx="15">
                  <c:v>0.68150871394789292</c:v>
                </c:pt>
                <c:pt idx="16">
                  <c:v>0.68581265024589422</c:v>
                </c:pt>
                <c:pt idx="17">
                  <c:v>0.69000181490928236</c:v>
                </c:pt>
                <c:pt idx="18">
                  <c:v>0.69408073839731799</c:v>
                </c:pt>
                <c:pt idx="19">
                  <c:v>0.69805371582072961</c:v>
                </c:pt>
                <c:pt idx="20">
                  <c:v>0.70192482202815609</c:v>
                </c:pt>
                <c:pt idx="21">
                  <c:v>0.705697925546787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6.3984826061694366E-2</c:v>
                </c:pt>
                <c:pt idx="1">
                  <c:v>4.0776820242691116E-2</c:v>
                </c:pt>
                <c:pt idx="2">
                  <c:v>4.0007989436871012E-2</c:v>
                </c:pt>
                <c:pt idx="3">
                  <c:v>3.5806921501861412E-2</c:v>
                </c:pt>
                <c:pt idx="4">
                  <c:v>3.4193433402380513E-2</c:v>
                </c:pt>
                <c:pt idx="5">
                  <c:v>3.0287591849548209E-2</c:v>
                </c:pt>
                <c:pt idx="6">
                  <c:v>2.9544433675126006E-2</c:v>
                </c:pt>
                <c:pt idx="7">
                  <c:v>2.6942846505395107E-2</c:v>
                </c:pt>
                <c:pt idx="8">
                  <c:v>2.665157770562122E-2</c:v>
                </c:pt>
                <c:pt idx="9">
                  <c:v>2.639435924856500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5.5238376089355827E-2</c:v>
                </c:pt>
                <c:pt idx="1">
                  <c:v>5.0337930300258453E-2</c:v>
                </c:pt>
                <c:pt idx="2">
                  <c:v>4.2131151655572435E-2</c:v>
                </c:pt>
                <c:pt idx="3">
                  <c:v>3.935851949699886E-2</c:v>
                </c:pt>
                <c:pt idx="4">
                  <c:v>3.6861406635885975E-2</c:v>
                </c:pt>
                <c:pt idx="5">
                  <c:v>2.9644020584365455E-2</c:v>
                </c:pt>
                <c:pt idx="6">
                  <c:v>2.7796690277018869E-2</c:v>
                </c:pt>
                <c:pt idx="7">
                  <c:v>2.5926926490488549E-2</c:v>
                </c:pt>
                <c:pt idx="8">
                  <c:v>2.563604346469732E-2</c:v>
                </c:pt>
                <c:pt idx="9">
                  <c:v>2.27357721569983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c:v>
                </c:pt>
                <c:pt idx="9">
                  <c:v>98.398123216092344</c:v>
                </c:pt>
                <c:pt idx="10">
                  <c:v>96.820295018844121</c:v>
                </c:pt>
                <c:pt idx="11">
                  <c:v>95.307014344426975</c:v>
                </c:pt>
                <c:pt idx="12">
                  <c:v>93.853019968529765</c:v>
                </c:pt>
                <c:pt idx="13">
                  <c:v>93.092798196541565</c:v>
                </c:pt>
                <c:pt idx="14">
                  <c:v>92.361394331021302</c:v>
                </c:pt>
                <c:pt idx="15">
                  <c:v>91.656409964388004</c:v>
                </c:pt>
                <c:pt idx="16">
                  <c:v>90.975745469235449</c:v>
                </c:pt>
                <c:pt idx="17">
                  <c:v>90.31755350617982</c:v>
                </c:pt>
                <c:pt idx="18">
                  <c:v>89.680200789285365</c:v>
                </c:pt>
                <c:pt idx="19">
                  <c:v>89.062236511096188</c:v>
                </c:pt>
                <c:pt idx="20">
                  <c:v>86.715180455668275</c:v>
                </c:pt>
                <c:pt idx="21">
                  <c:v>84.4952964712317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c:v>
                </c:pt>
                <c:pt idx="9">
                  <c:v>99.888056342491723</c:v>
                </c:pt>
                <c:pt idx="10">
                  <c:v>99.752098906561216</c:v>
                </c:pt>
                <c:pt idx="11">
                  <c:v>99.635829167744674</c:v>
                </c:pt>
                <c:pt idx="12">
                  <c:v>99.536601272957384</c:v>
                </c:pt>
                <c:pt idx="13">
                  <c:v>100.13919029293787</c:v>
                </c:pt>
                <c:pt idx="14">
                  <c:v>100.75016189349795</c:v>
                </c:pt>
                <c:pt idx="15">
                  <c:v>101.36817410552131</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8.51396279923395</c:v>
                </c:pt>
                <c:pt idx="1">
                  <c:v>102.56178347124573</c:v>
                </c:pt>
                <c:pt idx="2">
                  <c:v>98.047104876852245</c:v>
                </c:pt>
                <c:pt idx="3">
                  <c:v>97.779072489133213</c:v>
                </c:pt>
                <c:pt idx="4">
                  <c:v>97.811309939730748</c:v>
                </c:pt>
                <c:pt idx="5">
                  <c:v>98.053658598359419</c:v>
                </c:pt>
                <c:pt idx="6">
                  <c:v>98.633686787288553</c:v>
                </c:pt>
                <c:pt idx="7">
                  <c:v>99.287612746369334</c:v>
                </c:pt>
                <c:pt idx="8">
                  <c:v>1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58075335294298258</c:v>
                </c:pt>
                <c:pt idx="1">
                  <c:v>0.58785922831683035</c:v>
                </c:pt>
                <c:pt idx="2">
                  <c:v>0.59472824117821643</c:v>
                </c:pt>
                <c:pt idx="3">
                  <c:v>0.60137204050316384</c:v>
                </c:pt>
                <c:pt idx="4">
                  <c:v>0.60780152372085461</c:v>
                </c:pt>
                <c:pt idx="5">
                  <c:v>0.61402689636020624</c:v>
                </c:pt>
                <c:pt idx="6">
                  <c:v>0.62005772610457799</c:v>
                </c:pt>
                <c:pt idx="7">
                  <c:v>0.62590299185681519</c:v>
                </c:pt>
                <c:pt idx="8">
                  <c:v>0.631571128343833</c:v>
                </c:pt>
                <c:pt idx="9">
                  <c:v>0.63707006672676103</c:v>
                </c:pt>
                <c:pt idx="10">
                  <c:v>0.64240727162783806</c:v>
                </c:pt>
                <c:pt idx="11">
                  <c:v>0.64758977493757952</c:v>
                </c:pt>
                <c:pt idx="12">
                  <c:v>0.65262420672418564</c:v>
                </c:pt>
                <c:pt idx="13">
                  <c:v>0.65751682353088714</c:v>
                </c:pt>
                <c:pt idx="14">
                  <c:v>0.66227353431518055</c:v>
                </c:pt>
                <c:pt idx="15">
                  <c:v>0.66689992425606837</c:v>
                </c:pt>
                <c:pt idx="16">
                  <c:v>0.67140127663098637</c:v>
                </c:pt>
                <c:pt idx="17">
                  <c:v>0.67578259294257326</c:v>
                </c:pt>
                <c:pt idx="18">
                  <c:v>0.68004861145648665</c:v>
                </c:pt>
                <c:pt idx="19">
                  <c:v>0.68420382429471405</c:v>
                </c:pt>
                <c:pt idx="20">
                  <c:v>0.68825249321401272</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7.414371993794372E-2</c:v>
                </c:pt>
                <c:pt idx="1">
                  <c:v>6.6225957245721709E-2</c:v>
                </c:pt>
                <c:pt idx="2">
                  <c:v>4.1995159573785024E-2</c:v>
                </c:pt>
                <c:pt idx="3">
                  <c:v>3.9218999105670303E-2</c:v>
                </c:pt>
                <c:pt idx="4">
                  <c:v>3.7972039763084289E-2</c:v>
                </c:pt>
                <c:pt idx="5">
                  <c:v>2.9740288658967187E-2</c:v>
                </c:pt>
                <c:pt idx="6">
                  <c:v>2.5011107275159216E-2</c:v>
                </c:pt>
                <c:pt idx="7">
                  <c:v>2.4693225160632378E-2</c:v>
                </c:pt>
                <c:pt idx="8">
                  <c:v>2.3015221928101168E-2</c:v>
                </c:pt>
                <c:pt idx="9">
                  <c:v>2.29207244188554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8.4535615804595607E-2</c:v>
                </c:pt>
                <c:pt idx="1">
                  <c:v>5.8068616254135751E-2</c:v>
                </c:pt>
                <c:pt idx="2">
                  <c:v>5.0723873283149271E-2</c:v>
                </c:pt>
                <c:pt idx="3">
                  <c:v>5.0305405913585233E-2</c:v>
                </c:pt>
                <c:pt idx="4">
                  <c:v>4.4430980512362953E-2</c:v>
                </c:pt>
                <c:pt idx="5">
                  <c:v>3.5944711998911215E-2</c:v>
                </c:pt>
                <c:pt idx="6">
                  <c:v>3.0701374570999116E-2</c:v>
                </c:pt>
                <c:pt idx="7">
                  <c:v>2.7181255741555162E-2</c:v>
                </c:pt>
                <c:pt idx="8">
                  <c:v>2.4063579978014771E-2</c:v>
                </c:pt>
                <c:pt idx="9">
                  <c:v>2.309798098757425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30.39855128305379</c:v>
                </c:pt>
                <c:pt idx="1">
                  <c:v>122.57934229798929</c:v>
                </c:pt>
                <c:pt idx="2">
                  <c:v>116.09669971297463</c:v>
                </c:pt>
                <c:pt idx="3">
                  <c:v>111.56201398580276</c:v>
                </c:pt>
                <c:pt idx="4">
                  <c:v>107.82541459667794</c:v>
                </c:pt>
                <c:pt idx="5">
                  <c:v>104.66766414736523</c:v>
                </c:pt>
                <c:pt idx="6">
                  <c:v>102.98576061654525</c:v>
                </c:pt>
                <c:pt idx="7">
                  <c:v>101.43655606348815</c:v>
                </c:pt>
                <c:pt idx="8">
                  <c:v>100</c:v>
                </c:pt>
                <c:pt idx="9">
                  <c:v>98.660036415427982</c:v>
                </c:pt>
                <c:pt idx="10">
                  <c:v>97.220572877896885</c:v>
                </c:pt>
                <c:pt idx="11">
                  <c:v>95.8440221944618</c:v>
                </c:pt>
                <c:pt idx="12">
                  <c:v>94.524717953419795</c:v>
                </c:pt>
                <c:pt idx="13">
                  <c:v>93.969152970978001</c:v>
                </c:pt>
                <c:pt idx="14">
                  <c:v>93.430345400574623</c:v>
                </c:pt>
                <c:pt idx="15">
                  <c:v>92.907106752716487</c:v>
                </c:pt>
                <c:pt idx="16">
                  <c:v>92.398382544871438</c:v>
                </c:pt>
                <c:pt idx="17">
                  <c:v>91.903232719228583</c:v>
                </c:pt>
                <c:pt idx="18">
                  <c:v>91.420815390478694</c:v>
                </c:pt>
                <c:pt idx="19">
                  <c:v>90.950373300120276</c:v>
                </c:pt>
                <c:pt idx="20">
                  <c:v>89.147740449413917</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14.58707829826949</c:v>
                </c:pt>
                <c:pt idx="1">
                  <c:v>109.58036215435392</c:v>
                </c:pt>
                <c:pt idx="2">
                  <c:v>105.54909506260741</c:v>
                </c:pt>
                <c:pt idx="3">
                  <c:v>103.11899534913496</c:v>
                </c:pt>
                <c:pt idx="4">
                  <c:v>101.2996954744893</c:v>
                </c:pt>
                <c:pt idx="5">
                  <c:v>99.918713258785402</c:v>
                </c:pt>
                <c:pt idx="6">
                  <c:v>99.870926579535421</c:v>
                </c:pt>
                <c:pt idx="7">
                  <c:v>99.902684159874795</c:v>
                </c:pt>
                <c:pt idx="8">
                  <c:v>100</c:v>
                </c:pt>
                <c:pt idx="9">
                  <c:v>100.15172051692009</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06.75784914365974</c:v>
                </c:pt>
                <c:pt idx="1">
                  <c:v>103.1341185604813</c:v>
                </c:pt>
                <c:pt idx="2">
                  <c:v>100.31082170507717</c:v>
                </c:pt>
                <c:pt idx="3">
                  <c:v>98.920940155042175</c:v>
                </c:pt>
                <c:pt idx="4">
                  <c:v>98.051270311886341</c:v>
                </c:pt>
                <c:pt idx="5">
                  <c:v>97.551738450567754</c:v>
                </c:pt>
                <c:pt idx="6">
                  <c:v>98.318040639254576</c:v>
                </c:pt>
                <c:pt idx="7">
                  <c:v>99.137804098505143</c:v>
                </c:pt>
                <c:pt idx="8">
                  <c:v>1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62287577097812441</c:v>
                </c:pt>
                <c:pt idx="1">
                  <c:v>0.62926770706324109</c:v>
                </c:pt>
                <c:pt idx="2">
                  <c:v>0.6354465786121869</c:v>
                </c:pt>
                <c:pt idx="3">
                  <c:v>0.64142286420870842</c:v>
                </c:pt>
                <c:pt idx="4">
                  <c:v>0.64720636639889062</c:v>
                </c:pt>
                <c:pt idx="5">
                  <c:v>0.65280626534493991</c:v>
                </c:pt>
                <c:pt idx="6">
                  <c:v>0.65823116744892529</c:v>
                </c:pt>
                <c:pt idx="7">
                  <c:v>0.6634891494881725</c:v>
                </c:pt>
                <c:pt idx="8">
                  <c:v>0.66858779873835172</c:v>
                </c:pt>
                <c:pt idx="9">
                  <c:v>0.67353424950345098</c:v>
                </c:pt>
                <c:pt idx="10">
                  <c:v>0.67833521642251793</c:v>
                </c:pt>
                <c:pt idx="11">
                  <c:v>0.68299702488016256</c:v>
                </c:pt>
                <c:pt idx="12">
                  <c:v>0.68752563881044593</c:v>
                </c:pt>
                <c:pt idx="13">
                  <c:v>0.69192668615114394</c:v>
                </c:pt>
                <c:pt idx="14">
                  <c:v>0.69620548217682243</c:v>
                </c:pt>
                <c:pt idx="15">
                  <c:v>0.70036705091412632</c:v>
                </c:pt>
                <c:pt idx="16">
                  <c:v>0.70441614482069204</c:v>
                </c:pt>
                <c:pt idx="17">
                  <c:v>0.70835726288974965</c:v>
                </c:pt>
                <c:pt idx="18">
                  <c:v>0.71219466732541081</c:v>
                </c:pt>
                <c:pt idx="19">
                  <c:v>0.71593239891858718</c:v>
                </c:pt>
                <c:pt idx="20">
                  <c:v>0.71957429124014394</c:v>
                </c:pt>
                <c:pt idx="21">
                  <c:v>0.723123983756091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5.8488256188102279E-2</c:v>
                </c:pt>
                <c:pt idx="1">
                  <c:v>4.5263689459973874E-2</c:v>
                </c:pt>
                <c:pt idx="2">
                  <c:v>4.3570984590371536E-2</c:v>
                </c:pt>
                <c:pt idx="3">
                  <c:v>3.3625607884578371E-2</c:v>
                </c:pt>
                <c:pt idx="4">
                  <c:v>3.319455558469224E-2</c:v>
                </c:pt>
                <c:pt idx="5">
                  <c:v>3.181474416035885E-2</c:v>
                </c:pt>
                <c:pt idx="6">
                  <c:v>3.1756212063140901E-2</c:v>
                </c:pt>
                <c:pt idx="7">
                  <c:v>3.1228250668144417E-2</c:v>
                </c:pt>
                <c:pt idx="8">
                  <c:v>2.8068714535941536E-2</c:v>
                </c:pt>
                <c:pt idx="9">
                  <c:v>2.63941175553573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6.823298234910502E-2</c:v>
                </c:pt>
                <c:pt idx="5">
                  <c:v>2.9739596618401764E-2</c:v>
                </c:pt>
                <c:pt idx="6">
                  <c:v>2.5521236834335524E-2</c:v>
                </c:pt>
                <c:pt idx="7">
                  <c:v>1.5647235790447887E-2</c:v>
                </c:pt>
                <c:pt idx="8">
                  <c:v>1.1196608704418843E-2</c:v>
                </c:pt>
                <c:pt idx="9">
                  <c:v>1.09987165880584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6.3628942100544331E-2</c:v>
                </c:pt>
                <c:pt idx="1">
                  <c:v>4.6017087480224692E-2</c:v>
                </c:pt>
                <c:pt idx="2">
                  <c:v>4.6013375251248573E-2</c:v>
                </c:pt>
                <c:pt idx="3">
                  <c:v>4.3930153490286145E-2</c:v>
                </c:pt>
                <c:pt idx="4">
                  <c:v>4.2120350833789136E-2</c:v>
                </c:pt>
                <c:pt idx="5">
                  <c:v>3.2794855594174971E-2</c:v>
                </c:pt>
                <c:pt idx="6">
                  <c:v>2.6460673076772814E-2</c:v>
                </c:pt>
                <c:pt idx="7">
                  <c:v>2.6017377040847455E-2</c:v>
                </c:pt>
                <c:pt idx="8">
                  <c:v>2.4110818985515654E-2</c:v>
                </c:pt>
                <c:pt idx="9">
                  <c:v>2.30086768529282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2</c:v>
                </c:pt>
                <c:pt idx="1">
                  <c:v>0.1009058182188674</c:v>
                </c:pt>
                <c:pt idx="2">
                  <c:v>0</c:v>
                </c:pt>
                <c:pt idx="3">
                  <c:v>-3.3060051499166764E-2</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9.0895329294874538E-2</c:v>
                </c:pt>
                <c:pt idx="2">
                  <c:v>0</c:v>
                </c:pt>
                <c:pt idx="3">
                  <c:v>-5.894055553996902E-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1</c:v>
                </c:pt>
                <c:pt idx="1">
                  <c:v>0.18108097498086617</c:v>
                </c:pt>
                <c:pt idx="2">
                  <c:v>0</c:v>
                </c:pt>
                <c:pt idx="3">
                  <c:v>-9.7011134444798808E-2</c:v>
                </c:pt>
                <c:pt idx="4">
                  <c:v>-0.1478844066890246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c:v>
                </c:pt>
                <c:pt idx="3">
                  <c:v>-5.5898460440395911E-2</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c:v>
                </c:pt>
                <c:pt idx="12">
                  <c:v>98.799946843870956</c:v>
                </c:pt>
                <c:pt idx="13">
                  <c:v>98.358252170840885</c:v>
                </c:pt>
                <c:pt idx="14">
                  <c:v>97.927449108068984</c:v>
                </c:pt>
                <c:pt idx="15">
                  <c:v>97.506865094320901</c:v>
                </c:pt>
                <c:pt idx="16">
                  <c:v>97.095895571133042</c:v>
                </c:pt>
                <c:pt idx="17">
                  <c:v>96.693994850083371</c:v>
                </c:pt>
                <c:pt idx="18">
                  <c:v>96.30066843702788</c:v>
                </c:pt>
                <c:pt idx="19">
                  <c:v>95.915466553535893</c:v>
                </c:pt>
                <c:pt idx="20">
                  <c:v>94.180878948089315</c:v>
                </c:pt>
                <c:pt idx="21">
                  <c:v>92.521878277422346</c:v>
                </c:pt>
                <c:pt idx="22">
                  <c:v>90.933169822675424</c:v>
                </c:pt>
                <c:pt idx="23">
                  <c:v>89.409948762940189</c:v>
                </c:pt>
                <c:pt idx="24">
                  <c:v>87.947844997380543</c:v>
                </c:pt>
                <c:pt idx="25">
                  <c:v>86.5428752382122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07.38916006209401</c:v>
                </c:pt>
                <c:pt idx="1">
                  <c:v>104.38518445361331</c:v>
                </c:pt>
                <c:pt idx="2">
                  <c:v>101.92132429054601</c:v>
                </c:pt>
                <c:pt idx="3">
                  <c:v>100.22782697115072</c:v>
                </c:pt>
                <c:pt idx="4">
                  <c:v>98.95362146395253</c:v>
                </c:pt>
                <c:pt idx="5">
                  <c:v>97.985206559607434</c:v>
                </c:pt>
                <c:pt idx="6">
                  <c:v>98.325971506735556</c:v>
                </c:pt>
                <c:pt idx="7">
                  <c:v>98.708628161971887</c:v>
                </c:pt>
                <c:pt idx="8">
                  <c:v>99.125758302513802</c:v>
                </c:pt>
                <c:pt idx="9">
                  <c:v>99.571383528975133</c:v>
                </c:pt>
                <c:pt idx="10">
                  <c:v>99.781083833859284</c:v>
                </c:pt>
                <c:pt idx="11">
                  <c:v>1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96.048676000895099</c:v>
                </c:pt>
                <c:pt idx="1">
                  <c:v>94.515944031213664</c:v>
                </c:pt>
                <c:pt idx="2">
                  <c:v>93.377413198205588</c:v>
                </c:pt>
                <c:pt idx="3">
                  <c:v>92.869585464346841</c:v>
                </c:pt>
                <c:pt idx="4">
                  <c:v>92.689043722111336</c:v>
                </c:pt>
                <c:pt idx="5">
                  <c:v>92.742977619835258</c:v>
                </c:pt>
                <c:pt idx="6">
                  <c:v>94.009971573582135</c:v>
                </c:pt>
                <c:pt idx="7">
                  <c:v>95.295429450208943</c:v>
                </c:pt>
                <c:pt idx="8">
                  <c:v>96.594221424612186</c:v>
                </c:pt>
                <c:pt idx="9">
                  <c:v>97.90225559076616</c:v>
                </c:pt>
                <c:pt idx="10">
                  <c:v>98.956931913149205</c:v>
                </c:pt>
                <c:pt idx="11">
                  <c:v>1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39</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738862043099926</c:v>
                </c:pt>
                <c:pt idx="1">
                  <c:v>0.58110847203355198</c:v>
                </c:pt>
                <c:pt idx="2">
                  <c:v>0.58808999749965951</c:v>
                </c:pt>
                <c:pt idx="3">
                  <c:v>0.5948426204914683</c:v>
                </c:pt>
                <c:pt idx="4">
                  <c:v>0.60137741693515434</c:v>
                </c:pt>
                <c:pt idx="5">
                  <c:v>0.60770475952348524</c:v>
                </c:pt>
                <c:pt idx="6">
                  <c:v>0.61383437265593088</c:v>
                </c:pt>
                <c:pt idx="7">
                  <c:v>0.61977538230737794</c:v>
                </c:pt>
                <c:pt idx="8">
                  <c:v>0.6255363613633268</c:v>
                </c:pt>
                <c:pt idx="9">
                  <c:v>0.63112537089521747</c:v>
                </c:pt>
                <c:pt idx="10">
                  <c:v>0.63654999779381705</c:v>
                </c:pt>
                <c:pt idx="11">
                  <c:v>0.64181738913013875</c:v>
                </c:pt>
                <c:pt idx="12">
                  <c:v>0.64693428357113669</c:v>
                </c:pt>
                <c:pt idx="13">
                  <c:v>0.65190704014055734</c:v>
                </c:pt>
                <c:pt idx="14">
                  <c:v>0.65674166458304961</c:v>
                </c:pt>
                <c:pt idx="15">
                  <c:v>0.66144383356136383</c:v>
                </c:pt>
                <c:pt idx="16">
                  <c:v>0.66601891689161574</c:v>
                </c:pt>
                <c:pt idx="17">
                  <c:v>0.67047199799972756</c:v>
                </c:pt>
                <c:pt idx="18">
                  <c:v>0.67480789276288911</c:v>
                </c:pt>
                <c:pt idx="19">
                  <c:v>0.67903116688285148</c:v>
                </c:pt>
                <c:pt idx="20">
                  <c:v>0.68314615192281503</c:v>
                </c:pt>
                <c:pt idx="21">
                  <c:v>0.68715696012632366</c:v>
                </c:pt>
                <c:pt idx="22">
                  <c:v>0.69106749812474466</c:v>
                </c:pt>
                <c:pt idx="23">
                  <c:v>0.69488147962937741</c:v>
                </c:pt>
                <c:pt idx="24">
                  <c:v>0.69860243719487281</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5.1759014561310573E-2</c:v>
                </c:pt>
                <c:pt idx="1">
                  <c:v>4.7436447963763596E-2</c:v>
                </c:pt>
                <c:pt idx="2">
                  <c:v>3.8097849548098556E-2</c:v>
                </c:pt>
                <c:pt idx="3">
                  <c:v>3.7728919705332264E-2</c:v>
                </c:pt>
                <c:pt idx="4">
                  <c:v>3.4516115830608124E-2</c:v>
                </c:pt>
                <c:pt idx="5">
                  <c:v>3.3041189573252881E-2</c:v>
                </c:pt>
                <c:pt idx="6">
                  <c:v>2.9589871604121847E-2</c:v>
                </c:pt>
                <c:pt idx="7">
                  <c:v>2.5395433044639908E-2</c:v>
                </c:pt>
                <c:pt idx="8">
                  <c:v>2.4315825001161164E-2</c:v>
                </c:pt>
                <c:pt idx="9">
                  <c:v>2.1150790552357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6.2950587459637511E-2</c:v>
                </c:pt>
                <c:pt idx="1">
                  <c:v>4.629493546206942E-2</c:v>
                </c:pt>
                <c:pt idx="2">
                  <c:v>4.0871877572980997E-2</c:v>
                </c:pt>
                <c:pt idx="3">
                  <c:v>3.7070457410887853E-2</c:v>
                </c:pt>
                <c:pt idx="4">
                  <c:v>3.5108628420282798E-2</c:v>
                </c:pt>
                <c:pt idx="5">
                  <c:v>2.9362402054029374E-2</c:v>
                </c:pt>
                <c:pt idx="6">
                  <c:v>2.7225710328330547E-2</c:v>
                </c:pt>
                <c:pt idx="7">
                  <c:v>2.6745078938101859E-2</c:v>
                </c:pt>
                <c:pt idx="8">
                  <c:v>2.6401982871717081E-2</c:v>
                </c:pt>
                <c:pt idx="9">
                  <c:v>2.31400069615285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c:v>
                </c:pt>
                <c:pt idx="11">
                  <c:v>99.413231434979537</c:v>
                </c:pt>
                <c:pt idx="12">
                  <c:v>98.844150468785728</c:v>
                </c:pt>
                <c:pt idx="13">
                  <c:v>98.291513099036123</c:v>
                </c:pt>
                <c:pt idx="14">
                  <c:v>97.754214759334602</c:v>
                </c:pt>
                <c:pt idx="15">
                  <c:v>97.231269935778514</c:v>
                </c:pt>
                <c:pt idx="16">
                  <c:v>96.721795276155973</c:v>
                </c:pt>
                <c:pt idx="17">
                  <c:v>96.224995528378969</c:v>
                </c:pt>
                <c:pt idx="18">
                  <c:v>94.105944446003036</c:v>
                </c:pt>
                <c:pt idx="19">
                  <c:v>92.095059267139845</c:v>
                </c:pt>
                <c:pt idx="20">
                  <c:v>90.183648286374293</c:v>
                </c:pt>
                <c:pt idx="21">
                  <c:v>88.36393109535689</c:v>
                </c:pt>
                <c:pt idx="22">
                  <c:v>86.628925194242001</c:v>
                </c:pt>
                <c:pt idx="23">
                  <c:v>84.972348428065985</c:v>
                </c:pt>
                <c:pt idx="24">
                  <c:v>83.388534861249894</c:v>
                </c:pt>
                <c:pt idx="25">
                  <c:v>81.872362082017958</c:v>
                </c:pt>
                <c:pt idx="26">
                  <c:v>80.4191882454872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06.39341093201975</c:v>
                </c:pt>
                <c:pt idx="1">
                  <c:v>103.55957220210203</c:v>
                </c:pt>
                <c:pt idx="2">
                  <c:v>101.40618582427814</c:v>
                </c:pt>
                <c:pt idx="3">
                  <c:v>99.733592544540301</c:v>
                </c:pt>
                <c:pt idx="4">
                  <c:v>99.750832700635485</c:v>
                </c:pt>
                <c:pt idx="5">
                  <c:v>99.83939408941491</c:v>
                </c:pt>
                <c:pt idx="6">
                  <c:v>99.98725564877752</c:v>
                </c:pt>
                <c:pt idx="7">
                  <c:v>100.18468479108473</c:v>
                </c:pt>
                <c:pt idx="8">
                  <c:v>100.09624195580189</c:v>
                </c:pt>
                <c:pt idx="9">
                  <c:v>100.03597997857321</c:v>
                </c:pt>
                <c:pt idx="10">
                  <c:v>1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39</c:v>
                </c:pt>
                <c:pt idx="19">
                  <c:v>103.90811186255782</c:v>
                </c:pt>
                <c:pt idx="20">
                  <c:v>103.04055124588135</c:v>
                </c:pt>
                <c:pt idx="21">
                  <c:v>102.22435288177081</c:v>
                </c:pt>
                <c:pt idx="22">
                  <c:v>101.45528112521866</c:v>
                </c:pt>
                <c:pt idx="23">
                  <c:v>100.7295299644928</c:v>
                </c:pt>
                <c:pt idx="24">
                  <c:v>100.04367234878282</c:v>
                </c:pt>
                <c:pt idx="25">
                  <c:v>99.394616144195538</c:v>
                </c:pt>
                <c:pt idx="26">
                  <c:v>98.7795657901485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98.841398871227099</c:v>
                </c:pt>
                <c:pt idx="1">
                  <c:v>97.046344004275895</c:v>
                </c:pt>
                <c:pt idx="2">
                  <c:v>95.823751651063191</c:v>
                </c:pt>
                <c:pt idx="3">
                  <c:v>95.001761637636136</c:v>
                </c:pt>
                <c:pt idx="4">
                  <c:v>95.757245642436345</c:v>
                </c:pt>
                <c:pt idx="5">
                  <c:v>96.559495269384044</c:v>
                </c:pt>
                <c:pt idx="6">
                  <c:v>97.399277106205076</c:v>
                </c:pt>
                <c:pt idx="7">
                  <c:v>98.269134484615236</c:v>
                </c:pt>
                <c:pt idx="8">
                  <c:v>98.838993853424086</c:v>
                </c:pt>
                <c:pt idx="9">
                  <c:v>99.416789980390234</c:v>
                </c:pt>
                <c:pt idx="10">
                  <c:v>1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49</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5156902373463488</c:v>
                </c:pt>
                <c:pt idx="1">
                  <c:v>0.65728100695210001</c:v>
                </c:pt>
                <c:pt idx="2">
                  <c:v>0.66280873264642093</c:v>
                </c:pt>
                <c:pt idx="3">
                  <c:v>0.66816097498536653</c:v>
                </c:pt>
                <c:pt idx="4">
                  <c:v>0.67334595975122025</c:v>
                </c:pt>
                <c:pt idx="5">
                  <c:v>0.67837140652427841</c:v>
                </c:pt>
                <c:pt idx="6">
                  <c:v>0.68324456703148639</c:v>
                </c:pt>
                <c:pt idx="7">
                  <c:v>0.6879722600608672</c:v>
                </c:pt>
                <c:pt idx="8">
                  <c:v>0.69256090329526609</c:v>
                </c:pt>
                <c:pt idx="9">
                  <c:v>0.69701654237794353</c:v>
                </c:pt>
                <c:pt idx="10">
                  <c:v>0.70134487748683005</c:v>
                </c:pt>
                <c:pt idx="11">
                  <c:v>0.70555128766307185</c:v>
                </c:pt>
                <c:pt idx="12">
                  <c:v>0.70964085311219582</c:v>
                </c:pt>
                <c:pt idx="13">
                  <c:v>0.71361837567230268</c:v>
                </c:pt>
                <c:pt idx="14">
                  <c:v>0.71748839762267702</c:v>
                </c:pt>
                <c:pt idx="15">
                  <c:v>0.72125521898770806</c:v>
                </c:pt>
                <c:pt idx="16">
                  <c:v>0.72492291347471172</c:v>
                </c:pt>
                <c:pt idx="17">
                  <c:v>0.72849534316984554</c:v>
                </c:pt>
                <c:pt idx="18">
                  <c:v>0.73197617210356525</c:v>
                </c:pt>
                <c:pt idx="19">
                  <c:v>0.73536887878579871</c:v>
                </c:pt>
                <c:pt idx="20">
                  <c:v>0.73867676780097635</c:v>
                </c:pt>
                <c:pt idx="21">
                  <c:v>0.74190298054417392</c:v>
                </c:pt>
                <c:pt idx="22">
                  <c:v>0.74505050517168403</c:v>
                </c:pt>
                <c:pt idx="23">
                  <c:v>0.7481221858322662</c:v>
                </c:pt>
                <c:pt idx="24">
                  <c:v>0.7511207312390249</c:v>
                </c:pt>
                <c:pt idx="25">
                  <c:v>0.75404872263621292</c:v>
                </c:pt>
                <c:pt idx="26">
                  <c:v>0.75690862121021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6.5284093090018383E-2</c:v>
                </c:pt>
                <c:pt idx="1">
                  <c:v>6.3925099055636481E-2</c:v>
                </c:pt>
                <c:pt idx="2">
                  <c:v>5.1363259002320541E-2</c:v>
                </c:pt>
                <c:pt idx="3">
                  <c:v>4.7417335557088346E-2</c:v>
                </c:pt>
                <c:pt idx="4">
                  <c:v>3.6811353901722257E-2</c:v>
                </c:pt>
                <c:pt idx="5">
                  <c:v>2.5993260146093634E-2</c:v>
                </c:pt>
                <c:pt idx="6">
                  <c:v>2.598784960646762E-2</c:v>
                </c:pt>
                <c:pt idx="7">
                  <c:v>2.5521336577301032E-2</c:v>
                </c:pt>
                <c:pt idx="8">
                  <c:v>2.4772966566540853E-2</c:v>
                </c:pt>
                <c:pt idx="9">
                  <c:v>2.2977423200565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7.4633962550103516E-2</c:v>
                </c:pt>
                <c:pt idx="1">
                  <c:v>5.3713359631188298E-2</c:v>
                </c:pt>
                <c:pt idx="2">
                  <c:v>4.8350548056236134E-2</c:v>
                </c:pt>
                <c:pt idx="3">
                  <c:v>4.7490968190448755E-2</c:v>
                </c:pt>
                <c:pt idx="4">
                  <c:v>4.3283111313024085E-2</c:v>
                </c:pt>
                <c:pt idx="5">
                  <c:v>3.3810561980821177E-2</c:v>
                </c:pt>
                <c:pt idx="6">
                  <c:v>3.031971595930754E-2</c:v>
                </c:pt>
                <c:pt idx="7">
                  <c:v>2.8952797442190665E-2</c:v>
                </c:pt>
                <c:pt idx="8">
                  <c:v>2.5415603130382831E-2</c:v>
                </c:pt>
                <c:pt idx="9">
                  <c:v>2.437562240106034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c:v>
                </c:pt>
                <c:pt idx="10">
                  <c:v>96.958344719536953</c:v>
                </c:pt>
                <c:pt idx="11">
                  <c:v>94.273167667971222</c:v>
                </c:pt>
                <c:pt idx="12">
                  <c:v>93.199930447149427</c:v>
                </c:pt>
                <c:pt idx="13">
                  <c:v>92.184078204307525</c:v>
                </c:pt>
                <c:pt idx="14">
                  <c:v>91.218924599976575</c:v>
                </c:pt>
                <c:pt idx="15">
                  <c:v>90.298886555520113</c:v>
                </c:pt>
                <c:pt idx="16">
                  <c:v>88.997823515478331</c:v>
                </c:pt>
                <c:pt idx="17">
                  <c:v>87.744955874700764</c:v>
                </c:pt>
                <c:pt idx="18">
                  <c:v>86.536532722685422</c:v>
                </c:pt>
                <c:pt idx="19">
                  <c:v>86.19482575366753</c:v>
                </c:pt>
                <c:pt idx="20">
                  <c:v>85.860346712303993</c:v>
                </c:pt>
                <c:pt idx="21">
                  <c:v>85.532708443237809</c:v>
                </c:pt>
                <c:pt idx="22">
                  <c:v>85.2115593310975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89</c:v>
                </c:pt>
                <c:pt idx="7">
                  <c:v>104.74110078551261</c:v>
                </c:pt>
                <c:pt idx="8">
                  <c:v>101.81612188900147</c:v>
                </c:pt>
                <c:pt idx="9">
                  <c:v>100</c:v>
                </c:pt>
                <c:pt idx="10">
                  <c:v>98.546708752824301</c:v>
                </c:pt>
                <c:pt idx="11">
                  <c:v>97.361501519792</c:v>
                </c:pt>
                <c:pt idx="12">
                  <c:v>97.777254819968931</c:v>
                </c:pt>
                <c:pt idx="13">
                  <c:v>98.218913559750064</c:v>
                </c:pt>
                <c:pt idx="14">
                  <c:v>98.682072256482357</c:v>
                </c:pt>
                <c:pt idx="15">
                  <c:v>99.163097602153542</c:v>
                </c:pt>
                <c:pt idx="16">
                  <c:v>99.189686623254701</c:v>
                </c:pt>
                <c:pt idx="17">
                  <c:v>99.228187543769664</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79.144410732980532</c:v>
                </c:pt>
                <c:pt idx="1">
                  <c:v>81.100110053934443</c:v>
                </c:pt>
                <c:pt idx="2">
                  <c:v>83.242606966721908</c:v>
                </c:pt>
                <c:pt idx="3">
                  <c:v>85.503599094844958</c:v>
                </c:pt>
                <c:pt idx="4">
                  <c:v>89.806699415019892</c:v>
                </c:pt>
                <c:pt idx="5">
                  <c:v>94.008870782073785</c:v>
                </c:pt>
                <c:pt idx="6">
                  <c:v>98.113947196084766</c:v>
                </c:pt>
                <c:pt idx="7">
                  <c:v>98.326922410144192</c:v>
                </c:pt>
                <c:pt idx="8">
                  <c:v>98.749925591069143</c:v>
                </c:pt>
                <c:pt idx="9">
                  <c:v>1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2448978371871528</c:v>
                </c:pt>
                <c:pt idx="1">
                  <c:v>0.2591450478062628</c:v>
                </c:pt>
                <c:pt idx="2">
                  <c:v>0.27286458395799879</c:v>
                </c:pt>
                <c:pt idx="3">
                  <c:v>0.28608522788603519</c:v>
                </c:pt>
                <c:pt idx="4">
                  <c:v>0.29883370595949893</c:v>
                </c:pt>
                <c:pt idx="5">
                  <c:v>0.31113486901284082</c:v>
                </c:pt>
                <c:pt idx="6">
                  <c:v>0.32301185402986093</c:v>
                </c:pt>
                <c:pt idx="7">
                  <c:v>0.3344862293852871</c:v>
                </c:pt>
                <c:pt idx="8">
                  <c:v>0.34557812556219902</c:v>
                </c:pt>
                <c:pt idx="9">
                  <c:v>0.35630635301199892</c:v>
                </c:pt>
                <c:pt idx="10">
                  <c:v>0.3666885086085796</c:v>
                </c:pt>
                <c:pt idx="11">
                  <c:v>0.37674107196399897</c:v>
                </c:pt>
                <c:pt idx="12">
                  <c:v>0.38647949271456156</c:v>
                </c:pt>
                <c:pt idx="13">
                  <c:v>0.395918269749722</c:v>
                </c:pt>
                <c:pt idx="14">
                  <c:v>0.40507102323836264</c:v>
                </c:pt>
                <c:pt idx="15">
                  <c:v>0.41395056020495419</c:v>
                </c:pt>
                <c:pt idx="16">
                  <c:v>0.42256893431958709</c:v>
                </c:pt>
                <c:pt idx="17">
                  <c:v>0.4309375004888687</c:v>
                </c:pt>
                <c:pt idx="18">
                  <c:v>0.43906696476759899</c:v>
                </c:pt>
                <c:pt idx="19">
                  <c:v>0.4469674300525624</c:v>
                </c:pt>
                <c:pt idx="20">
                  <c:v>0.45464843796849908</c:v>
                </c:pt>
                <c:pt idx="21">
                  <c:v>0.46211900731139638</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5.6655039480847158E-2</c:v>
                </c:pt>
                <c:pt idx="1">
                  <c:v>5.1412236928973801E-2</c:v>
                </c:pt>
                <c:pt idx="2">
                  <c:v>3.5789413457417485E-2</c:v>
                </c:pt>
                <c:pt idx="3">
                  <c:v>3.4918278558666992E-2</c:v>
                </c:pt>
                <c:pt idx="4">
                  <c:v>3.326294219767089E-2</c:v>
                </c:pt>
                <c:pt idx="5">
                  <c:v>3.2862610216605172E-2</c:v>
                </c:pt>
                <c:pt idx="6">
                  <c:v>2.6755850881395912E-2</c:v>
                </c:pt>
                <c:pt idx="7">
                  <c:v>2.5700218383570634E-2</c:v>
                </c:pt>
                <c:pt idx="8">
                  <c:v>2.4825838312382557E-2</c:v>
                </c:pt>
                <c:pt idx="9">
                  <c:v>2.29554320192075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28</c:v>
                </c:pt>
                <c:pt idx="1">
                  <c:v>0.28787629834845169</c:v>
                </c:pt>
                <c:pt idx="2">
                  <c:v>0.15488659997386758</c:v>
                </c:pt>
                <c:pt idx="3">
                  <c:v>0.12679984851282905</c:v>
                </c:pt>
                <c:pt idx="4">
                  <c:v>7.999024983194207E-2</c:v>
                </c:pt>
                <c:pt idx="5">
                  <c:v>1.9292349234886628E-2</c:v>
                </c:pt>
                <c:pt idx="6">
                  <c:v>1.7081103847148095E-2</c:v>
                </c:pt>
                <c:pt idx="7">
                  <c:v>6.1497486044225901E-3</c:v>
                </c:pt>
                <c:pt idx="8">
                  <c:v>4.5232622376082656E-3</c:v>
                </c:pt>
                <c:pt idx="9">
                  <c:v>3.891174721303061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5.7539424237003034E-2</c:v>
                </c:pt>
                <c:pt idx="1">
                  <c:v>5.0236212544978225E-2</c:v>
                </c:pt>
                <c:pt idx="2">
                  <c:v>3.5966939508086868E-2</c:v>
                </c:pt>
                <c:pt idx="3">
                  <c:v>3.5037252568875001E-2</c:v>
                </c:pt>
                <c:pt idx="4">
                  <c:v>3.1860937627366248E-2</c:v>
                </c:pt>
                <c:pt idx="5">
                  <c:v>3.1310434504966941E-2</c:v>
                </c:pt>
                <c:pt idx="6">
                  <c:v>2.6815576446658353E-2</c:v>
                </c:pt>
                <c:pt idx="7">
                  <c:v>2.4572895413644838E-2</c:v>
                </c:pt>
                <c:pt idx="8">
                  <c:v>2.4317988632890555E-2</c:v>
                </c:pt>
                <c:pt idx="9">
                  <c:v>2.39848313731944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c:v>
                </c:pt>
                <c:pt idx="8">
                  <c:v>97.068363027386951</c:v>
                </c:pt>
                <c:pt idx="9">
                  <c:v>94.410153955960396</c:v>
                </c:pt>
                <c:pt idx="10">
                  <c:v>90.543243047739253</c:v>
                </c:pt>
                <c:pt idx="11">
                  <c:v>87.024154559082703</c:v>
                </c:pt>
                <c:pt idx="12">
                  <c:v>83.800550527710243</c:v>
                </c:pt>
                <c:pt idx="13">
                  <c:v>80.830563751148389</c:v>
                </c:pt>
                <c:pt idx="14">
                  <c:v>80.0574277056955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C$2:$C$16</c:f>
              <c:numCache>
                <c:formatCode>General</c:formatCode>
                <c:ptCount val="15"/>
                <c:pt idx="0">
                  <c:v>98.774612655472026</c:v>
                </c:pt>
                <c:pt idx="1">
                  <c:v>99.467017034206279</c:v>
                </c:pt>
                <c:pt idx="2">
                  <c:v>100.66205622290842</c:v>
                </c:pt>
                <c:pt idx="3">
                  <c:v>101.81455454509738</c:v>
                </c:pt>
                <c:pt idx="4">
                  <c:v>102.92624284103395</c:v>
                </c:pt>
                <c:pt idx="5">
                  <c:v>101.69260342229623</c:v>
                </c:pt>
                <c:pt idx="6">
                  <c:v>100.73615122707476</c:v>
                </c:pt>
                <c:pt idx="7">
                  <c:v>100</c:v>
                </c:pt>
                <c:pt idx="8">
                  <c:v>99.439763619355134</c:v>
                </c:pt>
                <c:pt idx="9">
                  <c:v>99.020684664478637</c:v>
                </c:pt>
                <c:pt idx="10">
                  <c:v>97.199747403814854</c:v>
                </c:pt>
                <c:pt idx="11">
                  <c:v>95.568021347881697</c:v>
                </c:pt>
                <c:pt idx="12">
                  <c:v>94.093059930046323</c:v>
                </c:pt>
                <c:pt idx="13">
                  <c:v>92.749111978335605</c:v>
                </c:pt>
                <c:pt idx="14">
                  <c:v>93.7909089067860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D$2:$D$16</c:f>
              <c:numCache>
                <c:formatCode>General</c:formatCode>
                <c:ptCount val="15"/>
                <c:pt idx="0">
                  <c:v>86.529398877921807</c:v>
                </c:pt>
                <c:pt idx="1">
                  <c:v>89.207184717842935</c:v>
                </c:pt>
                <c:pt idx="2">
                  <c:v>92.26968821634685</c:v>
                </c:pt>
                <c:pt idx="3">
                  <c:v>95.232765209442519</c:v>
                </c:pt>
                <c:pt idx="4">
                  <c:v>98.100466136136149</c:v>
                </c:pt>
                <c:pt idx="5">
                  <c:v>98.591629466574219</c:v>
                </c:pt>
                <c:pt idx="6">
                  <c:v>99.236957965761803</c:v>
                </c:pt>
                <c:pt idx="7">
                  <c:v>100</c:v>
                </c:pt>
                <c:pt idx="8">
                  <c:v>100.85195378794627</c:v>
                </c:pt>
                <c:pt idx="9">
                  <c:v>101.77010883868505</c:v>
                </c:pt>
                <c:pt idx="10">
                  <c:v>101.1309948283017</c:v>
                </c:pt>
                <c:pt idx="11">
                  <c:v>100.59248009239073</c:v>
                </c:pt>
                <c:pt idx="12">
                  <c:v>100.13269927410289</c:v>
                </c:pt>
                <c:pt idx="13">
                  <c:v>99.73454634494295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00</c:v>
                </c:pt>
                <c:pt idx="1">
                  <c:v>175.00</c:v>
                </c:pt>
                <c:pt idx="2">
                  <c:v>180.00</c:v>
                </c:pt>
                <c:pt idx="3">
                  <c:v>185.00</c:v>
                </c:pt>
                <c:pt idx="4">
                  <c:v>190.00</c:v>
                </c:pt>
                <c:pt idx="5">
                  <c:v>195.00</c:v>
                </c:pt>
                <c:pt idx="6">
                  <c:v>200.00</c:v>
                </c:pt>
                <c:pt idx="7">
                  <c:v>205.00</c:v>
                </c:pt>
                <c:pt idx="8">
                  <c:v>210.00</c:v>
                </c:pt>
                <c:pt idx="9">
                  <c:v>215.00</c:v>
                </c:pt>
                <c:pt idx="10">
                  <c:v>220.00</c:v>
                </c:pt>
                <c:pt idx="11">
                  <c:v>225.00</c:v>
                </c:pt>
                <c:pt idx="12">
                  <c:v>230.00</c:v>
                </c:pt>
                <c:pt idx="13">
                  <c:v>235.00</c:v>
                </c:pt>
                <c:pt idx="14">
                  <c:v>240.00</c:v>
                </c:pt>
              </c:strCache>
            </c:strRef>
          </c:cat>
          <c:val>
            <c:numRef>
              <c:f>Sheet1!$E$2:$E$16</c:f>
              <c:numCache>
                <c:formatCode>General</c:formatCode>
                <c:ptCount val="15"/>
                <c:pt idx="0">
                  <c:v>0.54867912963435073</c:v>
                </c:pt>
                <c:pt idx="1">
                  <c:v>0.56157401164479792</c:v>
                </c:pt>
                <c:pt idx="2">
                  <c:v>0.57375251132133143</c:v>
                </c:pt>
                <c:pt idx="3">
                  <c:v>0.58527271371805212</c:v>
                </c:pt>
                <c:pt idx="4">
                  <c:v>0.59618658967284011</c:v>
                </c:pt>
                <c:pt idx="5">
                  <c:v>0.60654077968122888</c:v>
                </c:pt>
                <c:pt idx="6">
                  <c:v>0.61637726018919836</c:v>
                </c:pt>
                <c:pt idx="7">
                  <c:v>0.62573391237970566</c:v>
                </c:pt>
                <c:pt idx="8">
                  <c:v>0.6346450097039984</c:v>
                </c:pt>
                <c:pt idx="9">
                  <c:v>0.64314163738530072</c:v>
                </c:pt>
                <c:pt idx="10">
                  <c:v>0.65125205471745296</c:v>
                </c:pt>
                <c:pt idx="11">
                  <c:v>0.65900200905706496</c:v>
                </c:pt>
                <c:pt idx="12">
                  <c:v>0.66641500886017224</c:v>
                </c:pt>
                <c:pt idx="13">
                  <c:v>0.6735125618631475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5.8996316216983785E-2</c:v>
                </c:pt>
                <c:pt idx="1">
                  <c:v>4.8825382680937703E-2</c:v>
                </c:pt>
                <c:pt idx="2">
                  <c:v>3.5265883683699879E-2</c:v>
                </c:pt>
                <c:pt idx="3">
                  <c:v>3.4845227466060578E-2</c:v>
                </c:pt>
                <c:pt idx="4">
                  <c:v>3.4218154673599718E-2</c:v>
                </c:pt>
                <c:pt idx="5">
                  <c:v>3.1880927069064882E-2</c:v>
                </c:pt>
                <c:pt idx="6">
                  <c:v>3.0553087872350192E-2</c:v>
                </c:pt>
                <c:pt idx="7">
                  <c:v>2.6409795455431782E-2</c:v>
                </c:pt>
                <c:pt idx="8">
                  <c:v>2.5380720480513309E-2</c:v>
                </c:pt>
                <c:pt idx="9">
                  <c:v>2.51634657012794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6.0145016106737462E-2</c:v>
                </c:pt>
                <c:pt idx="1">
                  <c:v>4.9147483560224595E-2</c:v>
                </c:pt>
                <c:pt idx="2">
                  <c:v>3.7981111529488479E-2</c:v>
                </c:pt>
                <c:pt idx="3">
                  <c:v>3.5147334739663597E-2</c:v>
                </c:pt>
                <c:pt idx="4">
                  <c:v>3.2601645947498419E-2</c:v>
                </c:pt>
                <c:pt idx="5">
                  <c:v>2.6198632572604418E-2</c:v>
                </c:pt>
                <c:pt idx="6">
                  <c:v>2.4840849764281064E-2</c:v>
                </c:pt>
                <c:pt idx="7">
                  <c:v>2.2922358598463765E-2</c:v>
                </c:pt>
                <c:pt idx="8">
                  <c:v>2.1946727803076858E-2</c:v>
                </c:pt>
                <c:pt idx="9">
                  <c:v>2.09408928920591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2</c:v>
                </c:pt>
                <c:pt idx="2">
                  <c:v>0</c:v>
                </c:pt>
                <c:pt idx="3">
                  <c:v>-0.18731641189675938</c:v>
                </c:pt>
                <c:pt idx="4">
                  <c:v>-0.3074417077768326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c:v>
                </c:pt>
                <c:pt idx="3">
                  <c:v>-9.6194012610665278E-2</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6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46.02998121228083</c:v>
                </c:pt>
                <c:pt idx="1">
                  <c:v>138.90813760010798</c:v>
                </c:pt>
                <c:pt idx="2">
                  <c:v>132.67577573186821</c:v>
                </c:pt>
                <c:pt idx="3">
                  <c:v>127.15596174889654</c:v>
                </c:pt>
                <c:pt idx="4">
                  <c:v>125.264085081125</c:v>
                </c:pt>
                <c:pt idx="5">
                  <c:v>123.4125337616548</c:v>
                </c:pt>
                <c:pt idx="6">
                  <c:v>121.60003002881336</c:v>
                </c:pt>
                <c:pt idx="7">
                  <c:v>110.16190559271975</c:v>
                </c:pt>
                <c:pt idx="8">
                  <c:v>101.11577805825117</c:v>
                </c:pt>
                <c:pt idx="9">
                  <c:v>100</c:v>
                </c:pt>
                <c:pt idx="10">
                  <c:v>98.958350608124803</c:v>
                </c:pt>
                <c:pt idx="11">
                  <c:v>97.978150826678785</c:v>
                </c:pt>
                <c:pt idx="12">
                  <c:v>92.955462008654607</c:v>
                </c:pt>
                <c:pt idx="13">
                  <c:v>88.561536858819807</c:v>
                </c:pt>
                <c:pt idx="14">
                  <c:v>84.694581800935993</c:v>
                </c:pt>
                <c:pt idx="15">
                  <c:v>81.268358810324045</c:v>
                </c:pt>
                <c:pt idx="16">
                  <c:v>79.674024341901699</c:v>
                </c:pt>
                <c:pt idx="17">
                  <c:v>78.141700613639998</c:v>
                </c:pt>
                <c:pt idx="18">
                  <c:v>76.668026950801803</c:v>
                </c:pt>
                <c:pt idx="19">
                  <c:v>74.609004410607099</c:v>
                </c:pt>
                <c:pt idx="20">
                  <c:v>72.697017396543743</c:v>
                </c:pt>
                <c:pt idx="21">
                  <c:v>70.917065152041701</c:v>
                </c:pt>
                <c:pt idx="22">
                  <c:v>69.2558292223167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794</c:v>
                </c:pt>
                <c:pt idx="9">
                  <c:v>100</c:v>
                </c:pt>
                <c:pt idx="10">
                  <c:v>100.5485337917507</c:v>
                </c:pt>
                <c:pt idx="11">
                  <c:v>101.1268506048107</c:v>
                </c:pt>
                <c:pt idx="12">
                  <c:v>97.419882405547852</c:v>
                </c:pt>
                <c:pt idx="13">
                  <c:v>94.224497941435715</c:v>
                </c:pt>
                <c:pt idx="14">
                  <c:v>91.460104548375583</c:v>
                </c:pt>
                <c:pt idx="15">
                  <c:v>89.056867904827016</c:v>
                </c:pt>
                <c:pt idx="16">
                  <c:v>88.585788137512594</c:v>
                </c:pt>
                <c:pt idx="17">
                  <c:v>88.133710431532421</c:v>
                </c:pt>
                <c:pt idx="18">
                  <c:v>87.699754811084446</c:v>
                </c:pt>
                <c:pt idx="19">
                  <c:v>86.539597979797605</c:v>
                </c:pt>
                <c:pt idx="20">
                  <c:v>85.486811857982403</c:v>
                </c:pt>
                <c:pt idx="21">
                  <c:v>84.530499018863409</c:v>
                </c:pt>
                <c:pt idx="22">
                  <c:v>83.6608480640996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10.58216262010809</c:v>
                </c:pt>
                <c:pt idx="1">
                  <c:v>108.93565951795439</c:v>
                </c:pt>
                <c:pt idx="2">
                  <c:v>107.62653010989015</c:v>
                </c:pt>
                <c:pt idx="3">
                  <c:v>106.5784455084207</c:v>
                </c:pt>
                <c:pt idx="4">
                  <c:v>108.37128856538239</c:v>
                </c:pt>
                <c:pt idx="5">
                  <c:v>110.09805295750282</c:v>
                </c:pt>
                <c:pt idx="6">
                  <c:v>111.76082721698768</c:v>
                </c:pt>
                <c:pt idx="7">
                  <c:v>104.21944362124857</c:v>
                </c:pt>
                <c:pt idx="8">
                  <c:v>98.388534631433672</c:v>
                </c:pt>
                <c:pt idx="9">
                  <c:v>100</c:v>
                </c:pt>
                <c:pt idx="10">
                  <c:v>101.62740499713649</c:v>
                </c:pt>
                <c:pt idx="11">
                  <c:v>103.26338470303493</c:v>
                </c:pt>
                <c:pt idx="12">
                  <c:v>100.47690458521794</c:v>
                </c:pt>
                <c:pt idx="13">
                  <c:v>98.116084087954789</c:v>
                </c:pt>
                <c:pt idx="14">
                  <c:v>96.116278094989809</c:v>
                </c:pt>
                <c:pt idx="15">
                  <c:v>94.419932281638467</c:v>
                </c:pt>
                <c:pt idx="16">
                  <c:v>94.716515666505813</c:v>
                </c:pt>
                <c:pt idx="17">
                  <c:v>95.002486809528904</c:v>
                </c:pt>
                <c:pt idx="18">
                  <c:v>95.278686820853721</c:v>
                </c:pt>
                <c:pt idx="19">
                  <c:v>94.732166271954483</c:v>
                </c:pt>
                <c:pt idx="20">
                  <c:v>94.265234871240878</c:v>
                </c:pt>
                <c:pt idx="21">
                  <c:v>93.869934051335548</c:v>
                </c:pt>
                <c:pt idx="22">
                  <c:v>93.5389590399514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3992660800025749</c:v>
                </c:pt>
                <c:pt idx="1">
                  <c:v>0.54860723803798861</c:v>
                </c:pt>
                <c:pt idx="2">
                  <c:v>0.55696636325950721</c:v>
                </c:pt>
                <c:pt idx="3">
                  <c:v>0.5650215202911526</c:v>
                </c:pt>
                <c:pt idx="4">
                  <c:v>0.57278899314309617</c:v>
                </c:pt>
                <c:pt idx="5">
                  <c:v>0.58028392308795418</c:v>
                </c:pt>
                <c:pt idx="6">
                  <c:v>0.58752040717264475</c:v>
                </c:pt>
                <c:pt idx="7">
                  <c:v>0.59451158671209137</c:v>
                </c:pt>
                <c:pt idx="8">
                  <c:v>0.60126972693355663</c:v>
                </c:pt>
                <c:pt idx="9">
                  <c:v>0.60780628878710485</c:v>
                </c:pt>
                <c:pt idx="10">
                  <c:v>0.61413199380666761</c:v>
                </c:pt>
                <c:pt idx="11">
                  <c:v>0.62025688279386337</c:v>
                </c:pt>
                <c:pt idx="12">
                  <c:v>0.62619036900020919</c:v>
                </c:pt>
                <c:pt idx="13">
                  <c:v>0.63194128640020608</c:v>
                </c:pt>
                <c:pt idx="14">
                  <c:v>0.63751793357596043</c:v>
                </c:pt>
                <c:pt idx="15">
                  <c:v>0.64292811367184166</c:v>
                </c:pt>
                <c:pt idx="16">
                  <c:v>0.64817917082372634</c:v>
                </c:pt>
                <c:pt idx="17">
                  <c:v>0.6532780234204838</c:v>
                </c:pt>
                <c:pt idx="18">
                  <c:v>0.65823119451447709</c:v>
                </c:pt>
                <c:pt idx="19">
                  <c:v>0.66304483966216043</c:v>
                </c:pt>
                <c:pt idx="20">
                  <c:v>0.66772477244463035</c:v>
                </c:pt>
                <c:pt idx="21">
                  <c:v>0.67227648789059447</c:v>
                </c:pt>
                <c:pt idx="22">
                  <c:v>0.676705184000180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7.6199534916826406E-2</c:v>
                </c:pt>
                <c:pt idx="2">
                  <c:v>6.2257319426976654E-2</c:v>
                </c:pt>
                <c:pt idx="3">
                  <c:v>6.0859817701523586E-2</c:v>
                </c:pt>
                <c:pt idx="4">
                  <c:v>5.9152642340712026E-2</c:v>
                </c:pt>
                <c:pt idx="5">
                  <c:v>5.4852065074426852E-2</c:v>
                </c:pt>
                <c:pt idx="6">
                  <c:v>4.7880406685732999E-2</c:v>
                </c:pt>
                <c:pt idx="7">
                  <c:v>4.7354872962539103E-2</c:v>
                </c:pt>
                <c:pt idx="8">
                  <c:v>4.6829945730196207E-2</c:v>
                </c:pt>
                <c:pt idx="9">
                  <c:v>3.68418198598030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8.8630574519671365E-2</c:v>
                </c:pt>
                <c:pt idx="2">
                  <c:v>5.7060286171604607E-2</c:v>
                </c:pt>
                <c:pt idx="3">
                  <c:v>5.5974504516360692E-2</c:v>
                </c:pt>
                <c:pt idx="4">
                  <c:v>5.5268172522044141E-2</c:v>
                </c:pt>
                <c:pt idx="5">
                  <c:v>5.3494226918179448E-2</c:v>
                </c:pt>
                <c:pt idx="6">
                  <c:v>4.8639969437169507E-2</c:v>
                </c:pt>
                <c:pt idx="7">
                  <c:v>4.0428084892942487E-2</c:v>
                </c:pt>
                <c:pt idx="8">
                  <c:v>3.998444715030916E-2</c:v>
                </c:pt>
                <c:pt idx="9">
                  <c:v>3.90393599292460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c:v>
                </c:pt>
                <c:pt idx="12">
                  <c:v>98.599275257083889</c:v>
                </c:pt>
                <c:pt idx="13">
                  <c:v>97.26435720558564</c:v>
                </c:pt>
                <c:pt idx="14">
                  <c:v>95.990053573720715</c:v>
                </c:pt>
                <c:pt idx="15">
                  <c:v>94.771717420286507</c:v>
                </c:pt>
                <c:pt idx="16">
                  <c:v>93.605178196506984</c:v>
                </c:pt>
                <c:pt idx="17">
                  <c:v>92.486682662379138</c:v>
                </c:pt>
                <c:pt idx="18">
                  <c:v>91.41284412767159</c:v>
                </c:pt>
                <c:pt idx="19">
                  <c:v>90.380598738933443</c:v>
                </c:pt>
                <c:pt idx="20">
                  <c:v>88.945978262935171</c:v>
                </c:pt>
                <c:pt idx="21">
                  <c:v>87.542808114170484</c:v>
                </c:pt>
                <c:pt idx="22">
                  <c:v>86.170211501978713</c:v>
                </c:pt>
                <c:pt idx="23">
                  <c:v>84.8273420849644</c:v>
                </c:pt>
                <c:pt idx="24">
                  <c:v>83.513382580197927</c:v>
                </c:pt>
                <c:pt idx="25">
                  <c:v>82.227543463829463</c:v>
                </c:pt>
                <c:pt idx="26">
                  <c:v>80.9690617546847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3</c:v>
                </c:pt>
                <c:pt idx="7">
                  <c:v>99.961862480039059</c:v>
                </c:pt>
                <c:pt idx="8">
                  <c:v>99.998672347174534</c:v>
                </c:pt>
                <c:pt idx="9">
                  <c:v>100.07192787198733</c:v>
                </c:pt>
                <c:pt idx="10">
                  <c:v>100.17701758457649</c:v>
                </c:pt>
                <c:pt idx="11">
                  <c:v>100</c:v>
                </c:pt>
                <c:pt idx="12">
                  <c:v>99.857933381238666</c:v>
                </c:pt>
                <c:pt idx="13">
                  <c:v>99.747590455346426</c:v>
                </c:pt>
                <c:pt idx="14">
                  <c:v>99.666097374334782</c:v>
                </c:pt>
                <c:pt idx="15">
                  <c:v>99.610888827119368</c:v>
                </c:pt>
                <c:pt idx="16">
                  <c:v>99.579669427544857</c:v>
                </c:pt>
                <c:pt idx="17">
                  <c:v>99.570380446159007</c:v>
                </c:pt>
                <c:pt idx="18">
                  <c:v>99.581171096869383</c:v>
                </c:pt>
                <c:pt idx="19">
                  <c:v>99.610373710860387</c:v>
                </c:pt>
                <c:pt idx="20">
                  <c:v>99.164559036053589</c:v>
                </c:pt>
                <c:pt idx="21">
                  <c:v>98.717609208829288</c:v>
                </c:pt>
                <c:pt idx="22">
                  <c:v>98.269727952527788</c:v>
                </c:pt>
                <c:pt idx="23">
                  <c:v>97.821109324794094</c:v>
                </c:pt>
                <c:pt idx="24">
                  <c:v>97.371938042992582</c:v>
                </c:pt>
                <c:pt idx="25">
                  <c:v>96.922389810472268</c:v>
                </c:pt>
                <c:pt idx="26">
                  <c:v>96.4726316418350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D$2:$D$28</c:f>
              <c:numCache>
                <c:formatCode>General</c:formatCode>
                <c:ptCount val="27"/>
                <c:pt idx="0">
                  <c:v>93.960280250361805</c:v>
                </c:pt>
                <c:pt idx="1">
                  <c:v>94.51620513207412</c:v>
                </c:pt>
                <c:pt idx="2">
                  <c:v>95.079726386998772</c:v>
                </c:pt>
                <c:pt idx="3">
                  <c:v>95.649109139246065</c:v>
                </c:pt>
                <c:pt idx="4">
                  <c:v>96.120779919966324</c:v>
                </c:pt>
                <c:pt idx="5">
                  <c:v>96.635254489364712</c:v>
                </c:pt>
                <c:pt idx="6">
                  <c:v>97.185800663849932</c:v>
                </c:pt>
                <c:pt idx="7">
                  <c:v>97.766742070826993</c:v>
                </c:pt>
                <c:pt idx="8">
                  <c:v>98.373286810278969</c:v>
                </c:pt>
                <c:pt idx="9">
                  <c:v>99.0013837523923</c:v>
                </c:pt>
                <c:pt idx="10">
                  <c:v>99.647602306120021</c:v>
                </c:pt>
                <c:pt idx="11">
                  <c:v>100</c:v>
                </c:pt>
                <c:pt idx="12">
                  <c:v>100.37235696273619</c:v>
                </c:pt>
                <c:pt idx="13">
                  <c:v>100.76250974116138</c:v>
                </c:pt>
                <c:pt idx="14">
                  <c:v>101.16853609721912</c:v>
                </c:pt>
                <c:pt idx="15">
                  <c:v>101.58872486513917</c:v>
                </c:pt>
                <c:pt idx="16">
                  <c:v>102.02154984740406</c:v>
                </c:pt>
                <c:pt idx="17">
                  <c:v>102.46564719031646</c:v>
                </c:pt>
                <c:pt idx="18">
                  <c:v>102.91979575721091</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strCache>
            </c:strRef>
          </c:cat>
          <c:val>
            <c:numRef>
              <c:f>Sheet1!$E$2:$E$28</c:f>
              <c:numCache>
                <c:formatCode>General</c:formatCode>
                <c:ptCount val="27"/>
                <c:pt idx="0">
                  <c:v>0.66580575707448886</c:v>
                </c:pt>
                <c:pt idx="1">
                  <c:v>0.67072037829398157</c:v>
                </c:pt>
                <c:pt idx="2">
                  <c:v>0.67549254672450354</c:v>
                </c:pt>
                <c:pt idx="3">
                  <c:v>0.68012836748558214</c:v>
                </c:pt>
                <c:pt idx="4">
                  <c:v>0.68463360174634846</c:v>
                </c:pt>
                <c:pt idx="5">
                  <c:v>0.68901369061098261</c:v>
                </c:pt>
                <c:pt idx="6">
                  <c:v>0.69327377704096915</c:v>
                </c:pt>
                <c:pt idx="7">
                  <c:v>0.69741872599987498</c:v>
                </c:pt>
                <c:pt idx="8">
                  <c:v>0.70145314298654327</c:v>
                </c:pt>
                <c:pt idx="9">
                  <c:v>0.70538139110514142</c:v>
                </c:pt>
                <c:pt idx="10">
                  <c:v>0.70920760680507466</c:v>
                </c:pt>
                <c:pt idx="11">
                  <c:v>0.7129357144101377</c:v>
                </c:pt>
                <c:pt idx="12">
                  <c:v>0.71656943954418661</c:v>
                </c:pt>
                <c:pt idx="13">
                  <c:v>0.72011232154988436</c:v>
                </c:pt>
                <c:pt idx="14">
                  <c:v>0.72356772498754007</c:v>
                </c:pt>
                <c:pt idx="15">
                  <c:v>0.7269388502925701</c:v>
                </c:pt>
                <c:pt idx="16">
                  <c:v>0.73022874366253909</c:v>
                </c:pt>
                <c:pt idx="17">
                  <c:v>0.73344030623798517</c:v>
                </c:pt>
                <c:pt idx="18">
                  <c:v>0.73657630263518525</c:v>
                </c:pt>
                <c:pt idx="19">
                  <c:v>0.73963936888361337</c:v>
                </c:pt>
                <c:pt idx="20">
                  <c:v>0.74263201981598559</c:v>
                </c:pt>
                <c:pt idx="21">
                  <c:v>0.74555665595444032</c:v>
                </c:pt>
                <c:pt idx="22">
                  <c:v>0.74841556993248026</c:v>
                </c:pt>
                <c:pt idx="23">
                  <c:v>0.75121095248878611</c:v>
                </c:pt>
                <c:pt idx="24">
                  <c:v>0.75394489806583254</c:v>
                </c:pt>
                <c:pt idx="25">
                  <c:v>0.75661941004337763</c:v>
                </c:pt>
                <c:pt idx="26">
                  <c:v>0.7592364056343090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9.4827432810885848E-2</c:v>
                </c:pt>
                <c:pt idx="1">
                  <c:v>9.3942490010644447E-2</c:v>
                </c:pt>
                <c:pt idx="2">
                  <c:v>6.7274777274022243E-2</c:v>
                </c:pt>
                <c:pt idx="3">
                  <c:v>6.2534587949070561E-2</c:v>
                </c:pt>
                <c:pt idx="4">
                  <c:v>5.2868708473543739E-2</c:v>
                </c:pt>
                <c:pt idx="5">
                  <c:v>4.4660987913475253E-2</c:v>
                </c:pt>
                <c:pt idx="6">
                  <c:v>4.0326690964640012E-2</c:v>
                </c:pt>
                <c:pt idx="7">
                  <c:v>3.619516806174685E-2</c:v>
                </c:pt>
                <c:pt idx="8">
                  <c:v>3.4977004051623649E-2</c:v>
                </c:pt>
                <c:pt idx="9">
                  <c:v>3.48947757107960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4.5502259395599744E-2</c:v>
                </c:pt>
                <c:pt idx="5">
                  <c:v>4.4550305517150092E-2</c:v>
                </c:pt>
                <c:pt idx="6">
                  <c:v>3.4967669082201627E-2</c:v>
                </c:pt>
                <c:pt idx="7">
                  <c:v>2.0832042089677937E-2</c:v>
                </c:pt>
                <c:pt idx="8">
                  <c:v>1.7665664356039643E-2</c:v>
                </c:pt>
                <c:pt idx="9">
                  <c:v>1.29095806447373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7.5995728208662669E-2</c:v>
                </c:pt>
                <c:pt idx="1">
                  <c:v>6.9746597601019575E-2</c:v>
                </c:pt>
                <c:pt idx="2">
                  <c:v>6.7645482134200907E-2</c:v>
                </c:pt>
                <c:pt idx="3">
                  <c:v>5.2888348219772861E-2</c:v>
                </c:pt>
                <c:pt idx="4">
                  <c:v>4.4856347890915076E-2</c:v>
                </c:pt>
                <c:pt idx="5">
                  <c:v>3.6718319747893947E-2</c:v>
                </c:pt>
                <c:pt idx="6">
                  <c:v>3.3491329130179402E-2</c:v>
                </c:pt>
                <c:pt idx="7">
                  <c:v>3.2559107697184259E-2</c:v>
                </c:pt>
                <c:pt idx="8">
                  <c:v>3.0311035980201864E-2</c:v>
                </c:pt>
                <c:pt idx="9">
                  <c:v>3.02518575139509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c:v>
                </c:pt>
                <c:pt idx="3">
                  <c:v>-9.9425188120293523E-2</c:v>
                </c:pt>
                <c:pt idx="4">
                  <c:v>-0.2020730124285783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c:v>
                </c:pt>
                <c:pt idx="11">
                  <c:v>98.60676064292791</c:v>
                </c:pt>
                <c:pt idx="12">
                  <c:v>97.282920311874733</c:v>
                </c:pt>
                <c:pt idx="13">
                  <c:v>96.021868607631944</c:v>
                </c:pt>
                <c:pt idx="14">
                  <c:v>94.81786753697385</c:v>
                </c:pt>
                <c:pt idx="15">
                  <c:v>93.665914930108727</c:v>
                </c:pt>
                <c:pt idx="16">
                  <c:v>91.816001909042683</c:v>
                </c:pt>
                <c:pt idx="17">
                  <c:v>90.057481187970694</c:v>
                </c:pt>
                <c:pt idx="18">
                  <c:v>88.383285969473818</c:v>
                </c:pt>
                <c:pt idx="19">
                  <c:v>86.787057313746772</c:v>
                </c:pt>
                <c:pt idx="20">
                  <c:v>85.263060169480326</c:v>
                </c:pt>
                <c:pt idx="21">
                  <c:v>83.806110519923749</c:v>
                </c:pt>
                <c:pt idx="22">
                  <c:v>82.411512076817644</c:v>
                </c:pt>
                <c:pt idx="23">
                  <c:v>81.07500118030741</c:v>
                </c:pt>
                <c:pt idx="24">
                  <c:v>79.7926987571422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c:v>
                </c:pt>
                <c:pt idx="11">
                  <c:v>99.969938851813794</c:v>
                </c:pt>
                <c:pt idx="12">
                  <c:v>99.972666898923606</c:v>
                </c:pt>
                <c:pt idx="13">
                  <c:v>100.00417393597898</c:v>
                </c:pt>
                <c:pt idx="14">
                  <c:v>100.06100568490832</c:v>
                </c:pt>
                <c:pt idx="15">
                  <c:v>100.1401779123936</c:v>
                </c:pt>
                <c:pt idx="16">
                  <c:v>99.429350452389002</c:v>
                </c:pt>
                <c:pt idx="17">
                  <c:v>98.767798089232144</c:v>
                </c:pt>
                <c:pt idx="18">
                  <c:v>98.151442416975939</c:v>
                </c:pt>
                <c:pt idx="19">
                  <c:v>97.576612795547391</c:v>
                </c:pt>
                <c:pt idx="20">
                  <c:v>97.039999317671786</c:v>
                </c:pt>
                <c:pt idx="21">
                  <c:v>96.538611679573663</c:v>
                </c:pt>
                <c:pt idx="22">
                  <c:v>96.069743192394625</c:v>
                </c:pt>
                <c:pt idx="23">
                  <c:v>95.630939266042532</c:v>
                </c:pt>
                <c:pt idx="24">
                  <c:v>95.2199697823081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7.112760909951078</c:v>
                </c:pt>
                <c:pt idx="1">
                  <c:v>98.149896984223361</c:v>
                </c:pt>
                <c:pt idx="2">
                  <c:v>97.369939223669562</c:v>
                </c:pt>
                <c:pt idx="3">
                  <c:v>96.849602423186823</c:v>
                </c:pt>
                <c:pt idx="4">
                  <c:v>96.531469300081767</c:v>
                </c:pt>
                <c:pt idx="5">
                  <c:v>96.371862869392615</c:v>
                </c:pt>
                <c:pt idx="6">
                  <c:v>97.127397880434657</c:v>
                </c:pt>
                <c:pt idx="7">
                  <c:v>97.874768643681136</c:v>
                </c:pt>
                <c:pt idx="8">
                  <c:v>98.613412875169431</c:v>
                </c:pt>
                <c:pt idx="9">
                  <c:v>99.297070005966532</c:v>
                </c:pt>
                <c:pt idx="10">
                  <c:v>1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5917950709915295</c:v>
                </c:pt>
                <c:pt idx="1">
                  <c:v>0.59827451430912437</c:v>
                </c:pt>
                <c:pt idx="2">
                  <c:v>0.6045514750230444</c:v>
                </c:pt>
                <c:pt idx="3">
                  <c:v>0.61063529848422826</c:v>
                </c:pt>
                <c:pt idx="4">
                  <c:v>0.61653476365870974</c:v>
                </c:pt>
                <c:pt idx="5">
                  <c:v>0.6222581253951468</c:v>
                </c:pt>
                <c:pt idx="6">
                  <c:v>0.62781315296286522</c:v>
                </c:pt>
                <c:pt idx="7">
                  <c:v>0.63320716523876575</c:v>
                </c:pt>
                <c:pt idx="8">
                  <c:v>0.63844706287821185</c:v>
                </c:pt>
                <c:pt idx="9">
                  <c:v>0.64353935776725124</c:v>
                </c:pt>
                <c:pt idx="10">
                  <c:v>0.64849020002048385</c:v>
                </c:pt>
                <c:pt idx="11">
                  <c:v>0.65330540275992932</c:v>
                </c:pt>
                <c:pt idx="12">
                  <c:v>0.65799046488479507</c:v>
                </c:pt>
                <c:pt idx="13">
                  <c:v>0.66255059201966449</c:v>
                </c:pt>
                <c:pt idx="14">
                  <c:v>0.66699071580887948</c:v>
                </c:pt>
                <c:pt idx="15">
                  <c:v>0.6713155117074654</c:v>
                </c:pt>
                <c:pt idx="16">
                  <c:v>0.67552941540352351</c:v>
                </c:pt>
                <c:pt idx="17">
                  <c:v>0.67963663799335228</c:v>
                </c:pt>
                <c:pt idx="18">
                  <c:v>0.68364118001843543</c:v>
                </c:pt>
                <c:pt idx="19">
                  <c:v>0.68754684446265235</c:v>
                </c:pt>
                <c:pt idx="20">
                  <c:v>0.6913572487984736</c:v>
                </c:pt>
                <c:pt idx="21">
                  <c:v>0.69507583616234747</c:v>
                </c:pt>
                <c:pt idx="22">
                  <c:v>0.69870588573184322</c:v>
                </c:pt>
                <c:pt idx="23">
                  <c:v>0.70225052237029217</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8.4766929904158031E-2</c:v>
                </c:pt>
                <c:pt idx="1">
                  <c:v>5.8413533073621252E-2</c:v>
                </c:pt>
                <c:pt idx="2">
                  <c:v>5.7940451598839024E-2</c:v>
                </c:pt>
                <c:pt idx="3">
                  <c:v>5.2749366752639484E-2</c:v>
                </c:pt>
                <c:pt idx="4">
                  <c:v>4.8640931710254826E-2</c:v>
                </c:pt>
                <c:pt idx="5">
                  <c:v>4.365702138727362E-2</c:v>
                </c:pt>
                <c:pt idx="6">
                  <c:v>4.1587960980926722E-2</c:v>
                </c:pt>
                <c:pt idx="7">
                  <c:v>4.0800767715287657E-2</c:v>
                </c:pt>
                <c:pt idx="8">
                  <c:v>4.0465583355207314E-2</c:v>
                </c:pt>
                <c:pt idx="9">
                  <c:v>3.719181081353663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8.6340644348735951E-2</c:v>
                </c:pt>
                <c:pt idx="1">
                  <c:v>5.3774762673373402E-2</c:v>
                </c:pt>
                <c:pt idx="2">
                  <c:v>5.3428308438748892E-2</c:v>
                </c:pt>
                <c:pt idx="3">
                  <c:v>5.3105172562808979E-2</c:v>
                </c:pt>
                <c:pt idx="4">
                  <c:v>5.2387807667733065E-2</c:v>
                </c:pt>
                <c:pt idx="5">
                  <c:v>4.9144909467441301E-2</c:v>
                </c:pt>
                <c:pt idx="6">
                  <c:v>4.7971656477293241E-2</c:v>
                </c:pt>
                <c:pt idx="7">
                  <c:v>4.2792741365349697E-2</c:v>
                </c:pt>
                <c:pt idx="8">
                  <c:v>3.9508521507805247E-2</c:v>
                </c:pt>
                <c:pt idx="9">
                  <c:v>3.196337671716034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78</c:v>
                </c:pt>
                <c:pt idx="1">
                  <c:v>0.20917087299459919</c:v>
                </c:pt>
                <c:pt idx="2">
                  <c:v>0</c:v>
                </c:pt>
                <c:pt idx="3">
                  <c:v>-9.8649240808513172E-2</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65</c:v>
                </c:pt>
                <c:pt idx="1">
                  <c:v>0.41471970976056344</c:v>
                </c:pt>
                <c:pt idx="2">
                  <c:v>0</c:v>
                </c:pt>
                <c:pt idx="3">
                  <c:v>-0.22625675986954702</c:v>
                </c:pt>
                <c:pt idx="4">
                  <c:v>-0.36769432856477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c:v>
                </c:pt>
                <c:pt idx="11">
                  <c:v>98.347533737388176</c:v>
                </c:pt>
                <c:pt idx="12">
                  <c:v>96.791763670651022</c:v>
                </c:pt>
                <c:pt idx="13">
                  <c:v>95.321833900172663</c:v>
                </c:pt>
                <c:pt idx="14">
                  <c:v>93.928523647591419</c:v>
                </c:pt>
                <c:pt idx="15">
                  <c:v>92.603966118533251</c:v>
                </c:pt>
                <c:pt idx="16">
                  <c:v>91.341418850956728</c:v>
                </c:pt>
                <c:pt idx="17">
                  <c:v>90.135075919148704</c:v>
                </c:pt>
                <c:pt idx="18">
                  <c:v>88.575400328903683</c:v>
                </c:pt>
                <c:pt idx="19">
                  <c:v>87.090913919234296</c:v>
                </c:pt>
                <c:pt idx="20">
                  <c:v>85.675535922619275</c:v>
                </c:pt>
                <c:pt idx="21">
                  <c:v>84.323836717927009</c:v>
                </c:pt>
                <c:pt idx="22">
                  <c:v>83.03095519814363</c:v>
                </c:pt>
                <c:pt idx="23">
                  <c:v>81.792527837999344</c:v>
                </c:pt>
                <c:pt idx="24">
                  <c:v>80.604627680242842</c:v>
                </c:pt>
                <c:pt idx="25">
                  <c:v>79.463711742863268</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c:v>
                </c:pt>
                <c:pt idx="11">
                  <c:v>99.74576321501371</c:v>
                </c:pt>
                <c:pt idx="12">
                  <c:v>99.543953107127351</c:v>
                </c:pt>
                <c:pt idx="13">
                  <c:v>99.387374604938273</c:v>
                </c:pt>
                <c:pt idx="14">
                  <c:v>99.269943801251515</c:v>
                </c:pt>
                <c:pt idx="15">
                  <c:v>99.186502940609273</c:v>
                </c:pt>
                <c:pt idx="16">
                  <c:v>99.132667336721795</c:v>
                </c:pt>
                <c:pt idx="17">
                  <c:v>99.104698745815128</c:v>
                </c:pt>
                <c:pt idx="18">
                  <c:v>98.64723823383919</c:v>
                </c:pt>
                <c:pt idx="19">
                  <c:v>98.230350414264777</c:v>
                </c:pt>
                <c:pt idx="20">
                  <c:v>97.850284316275065</c:v>
                </c:pt>
                <c:pt idx="21">
                  <c:v>97.503697854398325</c:v>
                </c:pt>
                <c:pt idx="22">
                  <c:v>97.187607119256796</c:v>
                </c:pt>
                <c:pt idx="23">
                  <c:v>96.899342528432015</c:v>
                </c:pt>
                <c:pt idx="24">
                  <c:v>96.636510857133672</c:v>
                </c:pt>
                <c:pt idx="25">
                  <c:v>96.396962311607993</c:v>
                </c:pt>
                <c:pt idx="26">
                  <c:v>96.1787619311613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39</c:v>
                </c:pt>
                <c:pt idx="7">
                  <c:v>99.080210175644481</c:v>
                </c:pt>
                <c:pt idx="8">
                  <c:v>99.379750511699115</c:v>
                </c:pt>
                <c:pt idx="9">
                  <c:v>99.686976991243597</c:v>
                </c:pt>
                <c:pt idx="10">
                  <c:v>1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7923126655540766</c:v>
                </c:pt>
                <c:pt idx="1">
                  <c:v>0.68448977038236825</c:v>
                </c:pt>
                <c:pt idx="2">
                  <c:v>0.68957864505362032</c:v>
                </c:pt>
                <c:pt idx="3">
                  <c:v>0.69450596814800725</c:v>
                </c:pt>
                <c:pt idx="4">
                  <c:v>0.69927931239569474</c:v>
                </c:pt>
                <c:pt idx="5">
                  <c:v>0.70390578451268404</c:v>
                </c:pt>
                <c:pt idx="6">
                  <c:v>0.70839206050491621</c:v>
                </c:pt>
                <c:pt idx="7">
                  <c:v>0.71274441781081299</c:v>
                </c:pt>
                <c:pt idx="8">
                  <c:v>0.71696876460771275</c:v>
                </c:pt>
                <c:pt idx="9">
                  <c:v>0.72107066656991969</c:v>
                </c:pt>
                <c:pt idx="10">
                  <c:v>0.72505537133320663</c:v>
                </c:pt>
                <c:pt idx="11">
                  <c:v>0.72892783089189384</c:v>
                </c:pt>
                <c:pt idx="12">
                  <c:v>0.73269272212950642</c:v>
                </c:pt>
                <c:pt idx="13">
                  <c:v>0.73635446566197893</c:v>
                </c:pt>
                <c:pt idx="14">
                  <c:v>0.7399172431530332</c:v>
                </c:pt>
                <c:pt idx="15">
                  <c:v>0.74338501324432615</c:v>
                </c:pt>
                <c:pt idx="16">
                  <c:v>0.74676152622795355</c:v>
                </c:pt>
                <c:pt idx="17">
                  <c:v>0.75005033757564243</c:v>
                </c:pt>
                <c:pt idx="18">
                  <c:v>0.75325482042723668</c:v>
                </c:pt>
                <c:pt idx="19">
                  <c:v>0.75637817713068944</c:v>
                </c:pt>
                <c:pt idx="20">
                  <c:v>0.75942344991655575</c:v>
                </c:pt>
                <c:pt idx="21">
                  <c:v>0.7623935307817834</c:v>
                </c:pt>
                <c:pt idx="22">
                  <c:v>0.76529117065029828</c:v>
                </c:pt>
                <c:pt idx="23">
                  <c:v>0.76811898787137911</c:v>
                </c:pt>
                <c:pt idx="24">
                  <c:v>0.77087947611100549</c:v>
                </c:pt>
                <c:pt idx="25">
                  <c:v>0.77357501168617016</c:v>
                </c:pt>
                <c:pt idx="26">
                  <c:v>0.7762078603874937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8.7917239478481984E-2</c:v>
                </c:pt>
                <c:pt idx="1">
                  <c:v>6.5401408450650678E-2</c:v>
                </c:pt>
                <c:pt idx="2">
                  <c:v>6.2350071983045895E-2</c:v>
                </c:pt>
                <c:pt idx="3">
                  <c:v>5.1755072908746723E-2</c:v>
                </c:pt>
                <c:pt idx="4">
                  <c:v>4.6578497042520282E-2</c:v>
                </c:pt>
                <c:pt idx="5">
                  <c:v>4.3049480899478659E-2</c:v>
                </c:pt>
                <c:pt idx="6">
                  <c:v>3.9618329551060226E-2</c:v>
                </c:pt>
                <c:pt idx="7">
                  <c:v>3.5995121893183699E-2</c:v>
                </c:pt>
                <c:pt idx="8">
                  <c:v>3.5345681510764448E-2</c:v>
                </c:pt>
                <c:pt idx="9">
                  <c:v>3.38189555020059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9.36727097371996E-2</c:v>
                </c:pt>
                <c:pt idx="1">
                  <c:v>6.4917305972629444E-2</c:v>
                </c:pt>
                <c:pt idx="2">
                  <c:v>6.227878497062303E-2</c:v>
                </c:pt>
                <c:pt idx="3">
                  <c:v>5.9194937043228001E-2</c:v>
                </c:pt>
                <c:pt idx="4">
                  <c:v>4.9719727999568301E-2</c:v>
                </c:pt>
                <c:pt idx="5">
                  <c:v>4.6185044635371882E-2</c:v>
                </c:pt>
                <c:pt idx="6">
                  <c:v>3.7123535229069519E-2</c:v>
                </c:pt>
                <c:pt idx="7">
                  <c:v>3.6396442299312055E-2</c:v>
                </c:pt>
                <c:pt idx="8">
                  <c:v>3.3464308858378325E-2</c:v>
                </c:pt>
                <c:pt idx="9">
                  <c:v>3.32764955741392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62.73834740459196</c:v>
                </c:pt>
                <c:pt idx="1">
                  <c:v>154.75971416637969</c:v>
                </c:pt>
                <c:pt idx="2">
                  <c:v>147.72183011989631</c:v>
                </c:pt>
                <c:pt idx="3">
                  <c:v>141.47197097605621</c:v>
                </c:pt>
                <c:pt idx="4">
                  <c:v>139.71752911790225</c:v>
                </c:pt>
                <c:pt idx="5">
                  <c:v>137.9973932359988</c:v>
                </c:pt>
                <c:pt idx="6">
                  <c:v>136.31044515495913</c:v>
                </c:pt>
                <c:pt idx="7">
                  <c:v>116.63258636602067</c:v>
                </c:pt>
                <c:pt idx="8">
                  <c:v>101.12196414094312</c:v>
                </c:pt>
                <c:pt idx="9">
                  <c:v>100</c:v>
                </c:pt>
                <c:pt idx="10">
                  <c:v>98.953870988436407</c:v>
                </c:pt>
                <c:pt idx="11">
                  <c:v>97.971246300812226</c:v>
                </c:pt>
                <c:pt idx="12">
                  <c:v>91.71026433866129</c:v>
                </c:pt>
                <c:pt idx="13">
                  <c:v>86.272695947444674</c:v>
                </c:pt>
                <c:pt idx="14">
                  <c:v>81.53226911079156</c:v>
                </c:pt>
                <c:pt idx="15">
                  <c:v>77.374324013045296</c:v>
                </c:pt>
                <c:pt idx="16">
                  <c:v>75.497452427299649</c:v>
                </c:pt>
                <c:pt idx="17">
                  <c:v>73.694252202492464</c:v>
                </c:pt>
                <c:pt idx="18">
                  <c:v>71.960864486719828</c:v>
                </c:pt>
                <c:pt idx="19">
                  <c:v>69.521653012623304</c:v>
                </c:pt>
                <c:pt idx="20">
                  <c:v>67.26582699674195</c:v>
                </c:pt>
                <c:pt idx="21">
                  <c:v>65.174417853874203</c:v>
                </c:pt>
                <c:pt idx="22">
                  <c:v>63.2305671435221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39.68180891940841</c:v>
                </c:pt>
                <c:pt idx="1">
                  <c:v>135.27874683387938</c:v>
                </c:pt>
                <c:pt idx="2">
                  <c:v>131.4656895776933</c:v>
                </c:pt>
                <c:pt idx="3">
                  <c:v>128.14745409786534</c:v>
                </c:pt>
                <c:pt idx="4">
                  <c:v>128.80420105975912</c:v>
                </c:pt>
                <c:pt idx="5">
                  <c:v>129.43598971104646</c:v>
                </c:pt>
                <c:pt idx="6">
                  <c:v>130.04346244936349</c:v>
                </c:pt>
                <c:pt idx="7">
                  <c:v>112.99429504284042</c:v>
                </c:pt>
                <c:pt idx="8">
                  <c:v>99.492280187377375</c:v>
                </c:pt>
                <c:pt idx="9">
                  <c:v>100</c:v>
                </c:pt>
                <c:pt idx="10">
                  <c:v>100.54853785624221</c:v>
                </c:pt>
                <c:pt idx="11">
                  <c:v>101.12877785303588</c:v>
                </c:pt>
                <c:pt idx="12">
                  <c:v>96.123356195087581</c:v>
                </c:pt>
                <c:pt idx="13">
                  <c:v>91.797459125190301</c:v>
                </c:pt>
                <c:pt idx="14">
                  <c:v>88.053239972402494</c:v>
                </c:pt>
                <c:pt idx="15">
                  <c:v>84.79777219816188</c:v>
                </c:pt>
                <c:pt idx="16">
                  <c:v>83.951432936856989</c:v>
                </c:pt>
                <c:pt idx="17">
                  <c:v>83.128195165511343</c:v>
                </c:pt>
                <c:pt idx="18">
                  <c:v>82.327170306945106</c:v>
                </c:pt>
                <c:pt idx="19">
                  <c:v>80.651596925359073</c:v>
                </c:pt>
                <c:pt idx="20">
                  <c:v>79.113957539996321</c:v>
                </c:pt>
                <c:pt idx="21">
                  <c:v>77.700367609453664</c:v>
                </c:pt>
                <c:pt idx="22">
                  <c:v>76.3982934427508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c:v>
                </c:pt>
                <c:pt idx="10">
                  <c:v>101.68844885291574</c:v>
                </c:pt>
                <c:pt idx="11">
                  <c:v>103.38609260876437</c:v>
                </c:pt>
                <c:pt idx="12">
                  <c:v>99.313469437187109</c:v>
                </c:pt>
                <c:pt idx="13">
                  <c:v>95.809236652331464</c:v>
                </c:pt>
                <c:pt idx="14">
                  <c:v>92.797939474369073</c:v>
                </c:pt>
                <c:pt idx="15">
                  <c:v>90.203702688883993</c:v>
                </c:pt>
                <c:pt idx="16">
                  <c:v>90.101991099614878</c:v>
                </c:pt>
                <c:pt idx="17">
                  <c:v>89.986503838476736</c:v>
                </c:pt>
                <c:pt idx="18">
                  <c:v>89.858530000124262</c:v>
                </c:pt>
                <c:pt idx="19">
                  <c:v>88.733874983459287</c:v>
                </c:pt>
                <c:pt idx="20">
                  <c:v>87.713536992740828</c:v>
                </c:pt>
                <c:pt idx="21">
                  <c:v>86.787460611668635</c:v>
                </c:pt>
                <c:pt idx="22">
                  <c:v>85.9463618673242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2281076115703118</c:v>
                </c:pt>
                <c:pt idx="1">
                  <c:v>0.53181433170123815</c:v>
                </c:pt>
                <c:pt idx="2">
                  <c:v>0.54048443666973378</c:v>
                </c:pt>
                <c:pt idx="3">
                  <c:v>0.54883926509392045</c:v>
                </c:pt>
                <c:pt idx="4">
                  <c:v>0.55689570678867184</c:v>
                </c:pt>
                <c:pt idx="5">
                  <c:v>0.56466946631869508</c:v>
                </c:pt>
                <c:pt idx="6">
                  <c:v>0.57217516517526934</c:v>
                </c:pt>
                <c:pt idx="7">
                  <c:v>0.57942643356212931</c:v>
                </c:pt>
                <c:pt idx="8">
                  <c:v>0.58643599300276039</c:v>
                </c:pt>
                <c:pt idx="9">
                  <c:v>0.59321573082238721</c:v>
                </c:pt>
                <c:pt idx="10">
                  <c:v>0.59977676742202624</c:v>
                </c:pt>
                <c:pt idx="11">
                  <c:v>0.60612951714548613</c:v>
                </c:pt>
                <c:pt idx="12">
                  <c:v>0.61228374344008774</c:v>
                </c:pt>
                <c:pt idx="13">
                  <c:v>0.61824860892562483</c:v>
                </c:pt>
                <c:pt idx="14">
                  <c:v>0.62403272091160034</c:v>
                </c:pt>
                <c:pt idx="15">
                  <c:v>0.62964417283829288</c:v>
                </c:pt>
                <c:pt idx="16">
                  <c:v>0.63509058206125923</c:v>
                </c:pt>
                <c:pt idx="17">
                  <c:v>0.64037912435022637</c:v>
                </c:pt>
                <c:pt idx="18">
                  <c:v>0.64551656543093749</c:v>
                </c:pt>
                <c:pt idx="19">
                  <c:v>0.65050928986148759</c:v>
                </c:pt>
                <c:pt idx="20">
                  <c:v>0.65536332750230031</c:v>
                </c:pt>
                <c:pt idx="21">
                  <c:v>0.66008437781048801</c:v>
                </c:pt>
                <c:pt idx="22">
                  <c:v>0.6646778321644003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4.7861231170879197E-2</c:v>
                </c:pt>
                <c:pt idx="5">
                  <c:v>4.3049266030286054E-2</c:v>
                </c:pt>
                <c:pt idx="6">
                  <c:v>4.0333329638314958E-2</c:v>
                </c:pt>
                <c:pt idx="7">
                  <c:v>1.9447327271747816E-2</c:v>
                </c:pt>
                <c:pt idx="8">
                  <c:v>1.8681757498649056E-2</c:v>
                </c:pt>
                <c:pt idx="9">
                  <c:v>1.50871097063639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8.9097188521754328E-2</c:v>
                </c:pt>
                <c:pt idx="2">
                  <c:v>6.9452948372485571E-2</c:v>
                </c:pt>
                <c:pt idx="3">
                  <c:v>5.8106232570896268E-2</c:v>
                </c:pt>
                <c:pt idx="4">
                  <c:v>5.6828477770057742E-2</c:v>
                </c:pt>
                <c:pt idx="5">
                  <c:v>5.4483670319756886E-2</c:v>
                </c:pt>
                <c:pt idx="6">
                  <c:v>5.3775716260557868E-2</c:v>
                </c:pt>
                <c:pt idx="7">
                  <c:v>4.8410820269059761E-2</c:v>
                </c:pt>
                <c:pt idx="8">
                  <c:v>4.0749766204868913E-2</c:v>
                </c:pt>
                <c:pt idx="9">
                  <c:v>3.6342126336897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8.63601298979738E-2</c:v>
                </c:pt>
                <c:pt idx="2">
                  <c:v>8.0844513844850793E-2</c:v>
                </c:pt>
                <c:pt idx="3">
                  <c:v>6.875569767930173E-2</c:v>
                </c:pt>
                <c:pt idx="4">
                  <c:v>4.920819578909523E-2</c:v>
                </c:pt>
                <c:pt idx="5">
                  <c:v>4.6377508369552838E-2</c:v>
                </c:pt>
                <c:pt idx="6">
                  <c:v>4.5795813958569444E-2</c:v>
                </c:pt>
                <c:pt idx="7">
                  <c:v>4.4278313488316172E-2</c:v>
                </c:pt>
                <c:pt idx="8">
                  <c:v>4.3709734941498463E-2</c:v>
                </c:pt>
                <c:pt idx="9">
                  <c:v>3.985922402500364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56</c:v>
                </c:pt>
                <c:pt idx="1">
                  <c:v>0.34412356549335488</c:v>
                </c:pt>
                <c:pt idx="2">
                  <c:v>0</c:v>
                </c:pt>
                <c:pt idx="3">
                  <c:v>-0.1939620523593166</c:v>
                </c:pt>
                <c:pt idx="4">
                  <c:v>-0.3238543417124826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09</c:v>
                </c:pt>
                <c:pt idx="1">
                  <c:v>0.21381183884260518</c:v>
                </c:pt>
                <c:pt idx="2">
                  <c:v>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19</c:v>
                </c:pt>
                <c:pt idx="7">
                  <c:v>113.24000444095303</c:v>
                </c:pt>
                <c:pt idx="8">
                  <c:v>101.02819926007652</c:v>
                </c:pt>
                <c:pt idx="9">
                  <c:v>100</c:v>
                </c:pt>
                <c:pt idx="10">
                  <c:v>99.037755764847489</c:v>
                </c:pt>
                <c:pt idx="11">
                  <c:v>98.130846607375162</c:v>
                </c:pt>
                <c:pt idx="12">
                  <c:v>92.782936385806508</c:v>
                </c:pt>
                <c:pt idx="13">
                  <c:v>88.167031974820617</c:v>
                </c:pt>
                <c:pt idx="14">
                  <c:v>84.144725484288358</c:v>
                </c:pt>
                <c:pt idx="15">
                  <c:v>80.603794764068255</c:v>
                </c:pt>
                <c:pt idx="16">
                  <c:v>78.903346774284017</c:v>
                </c:pt>
                <c:pt idx="17">
                  <c:v>77.266471598473771</c:v>
                </c:pt>
                <c:pt idx="18">
                  <c:v>75.689459635183624</c:v>
                </c:pt>
                <c:pt idx="19">
                  <c:v>73.453672258702113</c:v>
                </c:pt>
                <c:pt idx="20">
                  <c:v>71.373526209158371</c:v>
                </c:pt>
                <c:pt idx="21">
                  <c:v>69.432064741038189</c:v>
                </c:pt>
                <c:pt idx="22">
                  <c:v>67.61456582875173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38</c:v>
                </c:pt>
                <c:pt idx="9">
                  <c:v>100</c:v>
                </c:pt>
                <c:pt idx="10">
                  <c:v>100.64083064671053</c:v>
                </c:pt>
                <c:pt idx="11">
                  <c:v>101.30752821564832</c:v>
                </c:pt>
                <c:pt idx="12">
                  <c:v>97.274557362047801</c:v>
                </c:pt>
                <c:pt idx="13">
                  <c:v>93.850796371392903</c:v>
                </c:pt>
                <c:pt idx="14">
                  <c:v>90.921443942116966</c:v>
                </c:pt>
                <c:pt idx="15">
                  <c:v>88.391677102091819</c:v>
                </c:pt>
                <c:pt idx="16">
                  <c:v>87.799952540123797</c:v>
                </c:pt>
                <c:pt idx="17">
                  <c:v>87.225211115253373</c:v>
                </c:pt>
                <c:pt idx="18">
                  <c:v>86.66627266414315</c:v>
                </c:pt>
                <c:pt idx="19">
                  <c:v>85.290815311677292</c:v>
                </c:pt>
                <c:pt idx="20">
                  <c:v>84.026787330738244</c:v>
                </c:pt>
                <c:pt idx="21">
                  <c:v>82.861424545915852</c:v>
                </c:pt>
                <c:pt idx="22">
                  <c:v>81.7835831422875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59</c:v>
                </c:pt>
                <c:pt idx="9">
                  <c:v>100</c:v>
                </c:pt>
                <c:pt idx="10">
                  <c:v>101.64519279331428</c:v>
                </c:pt>
                <c:pt idx="11">
                  <c:v>103.29796698692799</c:v>
                </c:pt>
                <c:pt idx="12">
                  <c:v>100.11122231294269</c:v>
                </c:pt>
                <c:pt idx="13">
                  <c:v>97.451975159801663</c:v>
                </c:pt>
                <c:pt idx="14">
                  <c:v>95.221413929190362</c:v>
                </c:pt>
                <c:pt idx="15">
                  <c:v>93.33647337615956</c:v>
                </c:pt>
                <c:pt idx="16">
                  <c:v>93.444756211751454</c:v>
                </c:pt>
                <c:pt idx="17">
                  <c:v>93.540463879413053</c:v>
                </c:pt>
                <c:pt idx="18">
                  <c:v>93.624028969267755</c:v>
                </c:pt>
                <c:pt idx="19">
                  <c:v>92.792339966293767</c:v>
                </c:pt>
                <c:pt idx="20">
                  <c:v>92.043640451757355</c:v>
                </c:pt>
                <c:pt idx="21">
                  <c:v>91.367909531205527</c:v>
                </c:pt>
                <c:pt idx="22">
                  <c:v>90.7563401568625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5736151338534545</c:v>
                </c:pt>
                <c:pt idx="1">
                  <c:v>0.56571318294411277</c:v>
                </c:pt>
                <c:pt idx="2">
                  <c:v>0.57375553140811042</c:v>
                </c:pt>
                <c:pt idx="3">
                  <c:v>0.58150543083705397</c:v>
                </c:pt>
                <c:pt idx="4">
                  <c:v>0.58897854814353512</c:v>
                </c:pt>
                <c:pt idx="5">
                  <c:v>0.59618945080768371</c:v>
                </c:pt>
                <c:pt idx="6">
                  <c:v>0.60315170165582721</c:v>
                </c:pt>
                <c:pt idx="7">
                  <c:v>0.60987794400064355</c:v>
                </c:pt>
                <c:pt idx="8">
                  <c:v>0.6163799782672994</c:v>
                </c:pt>
                <c:pt idx="9">
                  <c:v>0.62266883108258952</c:v>
                </c:pt>
                <c:pt idx="10">
                  <c:v>0.62875481767803165</c:v>
                </c:pt>
                <c:pt idx="11">
                  <c:v>0.63464759834980899</c:v>
                </c:pt>
                <c:pt idx="12">
                  <c:v>0.64035622962559324</c:v>
                </c:pt>
                <c:pt idx="13">
                  <c:v>0.64588921070827632</c:v>
                </c:pt>
                <c:pt idx="14">
                  <c:v>0.65125452569754494</c:v>
                </c:pt>
                <c:pt idx="15">
                  <c:v>0.65645968203041727</c:v>
                </c:pt>
                <c:pt idx="16">
                  <c:v>0.66151174552997005</c:v>
                </c:pt>
                <c:pt idx="17">
                  <c:v>0.66641737240634735</c:v>
                </c:pt>
                <c:pt idx="18">
                  <c:v>0.67118283851482807</c:v>
                </c:pt>
                <c:pt idx="19">
                  <c:v>0.67581406614137995</c:v>
                </c:pt>
                <c:pt idx="20">
                  <c:v>0.68031664855608287</c:v>
                </c:pt>
                <c:pt idx="21">
                  <c:v>0.6846958725484652</c:v>
                </c:pt>
                <c:pt idx="22">
                  <c:v>0.688956739135648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8.6672932715962936E-2</c:v>
                </c:pt>
                <c:pt idx="2">
                  <c:v>6.755015756200082E-2</c:v>
                </c:pt>
                <c:pt idx="3">
                  <c:v>6.1307064864021245E-2</c:v>
                </c:pt>
                <c:pt idx="4">
                  <c:v>5.8558701974863216E-2</c:v>
                </c:pt>
                <c:pt idx="5">
                  <c:v>5.1690130686359526E-2</c:v>
                </c:pt>
                <c:pt idx="6">
                  <c:v>5.0687514523912749E-2</c:v>
                </c:pt>
                <c:pt idx="7">
                  <c:v>4.7507314216717902E-2</c:v>
                </c:pt>
                <c:pt idx="8">
                  <c:v>4.7366572966722281E-2</c:v>
                </c:pt>
                <c:pt idx="9">
                  <c:v>4.06427509873338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8.6042551536449061E-2</c:v>
                </c:pt>
                <c:pt idx="3">
                  <c:v>5.7736168093787156E-2</c:v>
                </c:pt>
                <c:pt idx="4">
                  <c:v>5.7520450319624009E-2</c:v>
                </c:pt>
                <c:pt idx="5">
                  <c:v>5.5595810435771782E-2</c:v>
                </c:pt>
                <c:pt idx="6">
                  <c:v>4.235163913531427E-2</c:v>
                </c:pt>
                <c:pt idx="7">
                  <c:v>4.1772710463290647E-2</c:v>
                </c:pt>
                <c:pt idx="8">
                  <c:v>3.1816554768427936E-2</c:v>
                </c:pt>
                <c:pt idx="9">
                  <c:v>3.0898235891516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1</c:v>
                </c:pt>
                <c:pt idx="9">
                  <c:v>101.67166926396047</c:v>
                </c:pt>
                <c:pt idx="10">
                  <c:v>100</c:v>
                </c:pt>
                <c:pt idx="11">
                  <c:v>98.251191828639008</c:v>
                </c:pt>
                <c:pt idx="12">
                  <c:v>96.610170299296954</c:v>
                </c:pt>
                <c:pt idx="13">
                  <c:v>95.065000533143802</c:v>
                </c:pt>
                <c:pt idx="14">
                  <c:v>93.605485994807395</c:v>
                </c:pt>
                <c:pt idx="15">
                  <c:v>92.222876640681832</c:v>
                </c:pt>
                <c:pt idx="16">
                  <c:v>90.9096301205402</c:v>
                </c:pt>
                <c:pt idx="17">
                  <c:v>89.659215963162737</c:v>
                </c:pt>
                <c:pt idx="18">
                  <c:v>88.066539527198515</c:v>
                </c:pt>
                <c:pt idx="19">
                  <c:v>86.550848400709285</c:v>
                </c:pt>
                <c:pt idx="20">
                  <c:v>85.105963823476856</c:v>
                </c:pt>
                <c:pt idx="21">
                  <c:v>83.726362665316117</c:v>
                </c:pt>
                <c:pt idx="22">
                  <c:v>82.407094902278217</c:v>
                </c:pt>
                <c:pt idx="23">
                  <c:v>81.143712732595034</c:v>
                </c:pt>
                <c:pt idx="24">
                  <c:v>79.932209552704805</c:v>
                </c:pt>
                <c:pt idx="25">
                  <c:v>78.768967301992717</c:v>
                </c:pt>
                <c:pt idx="26">
                  <c:v>77.6507109247078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c:v>
                </c:pt>
                <c:pt idx="11">
                  <c:v>99.651505779984689</c:v>
                </c:pt>
                <c:pt idx="12">
                  <c:v>99.364010294881297</c:v>
                </c:pt>
                <c:pt idx="13">
                  <c:v>99.129675960369383</c:v>
                </c:pt>
                <c:pt idx="14">
                  <c:v>98.941822572417607</c:v>
                </c:pt>
                <c:pt idx="15">
                  <c:v>98.794738452509705</c:v>
                </c:pt>
                <c:pt idx="16">
                  <c:v>98.683524246484339</c:v>
                </c:pt>
                <c:pt idx="17">
                  <c:v>98.603963590507803</c:v>
                </c:pt>
                <c:pt idx="18">
                  <c:v>98.106702873203346</c:v>
                </c:pt>
                <c:pt idx="19">
                  <c:v>97.650956265420973</c:v>
                </c:pt>
                <c:pt idx="20">
                  <c:v>97.232950069248233</c:v>
                </c:pt>
                <c:pt idx="21">
                  <c:v>96.849317567888718</c:v>
                </c:pt>
                <c:pt idx="22">
                  <c:v>96.497048983137006</c:v>
                </c:pt>
                <c:pt idx="23">
                  <c:v>96.173448194203516</c:v>
                </c:pt>
                <c:pt idx="24">
                  <c:v>95.876095240213061</c:v>
                </c:pt>
                <c:pt idx="25">
                  <c:v>95.602813776564005</c:v>
                </c:pt>
                <c:pt idx="26">
                  <c:v>95.3516427804803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38</c:v>
                </c:pt>
                <c:pt idx="9">
                  <c:v>99.455361153145944</c:v>
                </c:pt>
                <c:pt idx="10">
                  <c:v>1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5979056474432326</c:v>
                </c:pt>
                <c:pt idx="1">
                  <c:v>0.60449735814088457</c:v>
                </c:pt>
                <c:pt idx="2">
                  <c:v>0.61087643300957994</c:v>
                </c:pt>
                <c:pt idx="3">
                  <c:v>0.61705299756498355</c:v>
                </c:pt>
                <c:pt idx="4">
                  <c:v>0.62303654447803047</c:v>
                </c:pt>
                <c:pt idx="5">
                  <c:v>0.62883598225529169</c:v>
                </c:pt>
                <c:pt idx="6">
                  <c:v>0.63445967949384796</c:v>
                </c:pt>
                <c:pt idx="7">
                  <c:v>0.63991550517304419</c:v>
                </c:pt>
                <c:pt idx="8">
                  <c:v>0.64521086539108774</c:v>
                </c:pt>
                <c:pt idx="9">
                  <c:v>0.65035273690715878</c:v>
                </c:pt>
                <c:pt idx="10">
                  <c:v>0.65534769780848512</c:v>
                </c:pt>
                <c:pt idx="11">
                  <c:v>0.66020195558583039</c:v>
                </c:pt>
                <c:pt idx="12">
                  <c:v>0.66492137286936059</c:v>
                </c:pt>
                <c:pt idx="13">
                  <c:v>0.66951149104923247</c:v>
                </c:pt>
                <c:pt idx="14">
                  <c:v>0.67397755198099951</c:v>
                </c:pt>
                <c:pt idx="15">
                  <c:v>0.67832451795458604</c:v>
                </c:pt>
                <c:pt idx="16">
                  <c:v>0.68255709008676257</c:v>
                </c:pt>
                <c:pt idx="17">
                  <c:v>0.68667972528044108</c:v>
                </c:pt>
                <c:pt idx="18">
                  <c:v>0.69069665187940976</c:v>
                </c:pt>
                <c:pt idx="19">
                  <c:v>0.6946118841341008</c:v>
                </c:pt>
                <c:pt idx="20">
                  <c:v>0.69842923558242442</c:v>
                </c:pt>
                <c:pt idx="21">
                  <c:v>0.70215233143943157</c:v>
                </c:pt>
                <c:pt idx="22">
                  <c:v>0.7057846200804142</c:v>
                </c:pt>
                <c:pt idx="23">
                  <c:v>0.70932938369390308</c:v>
                </c:pt>
                <c:pt idx="24">
                  <c:v>0.71278974817373764</c:v>
                </c:pt>
                <c:pt idx="25">
                  <c:v>0.71616869231287017</c:v>
                </c:pt>
                <c:pt idx="26">
                  <c:v>0.719469056355743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9.353872820680488E-2</c:v>
                </c:pt>
                <c:pt idx="1">
                  <c:v>6.235912525782298E-2</c:v>
                </c:pt>
                <c:pt idx="2">
                  <c:v>5.8847485357541321E-2</c:v>
                </c:pt>
                <c:pt idx="3">
                  <c:v>5.4196776594736949E-2</c:v>
                </c:pt>
                <c:pt idx="4">
                  <c:v>4.662742381777138E-2</c:v>
                </c:pt>
                <c:pt idx="5">
                  <c:v>4.6376467946520297E-2</c:v>
                </c:pt>
                <c:pt idx="6">
                  <c:v>4.1948208403385839E-2</c:v>
                </c:pt>
                <c:pt idx="7">
                  <c:v>3.964865192969215E-2</c:v>
                </c:pt>
                <c:pt idx="8">
                  <c:v>3.7150711202342694E-2</c:v>
                </c:pt>
                <c:pt idx="9">
                  <c:v>3.40119661172720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6.1479329397836437E-2</c:v>
                </c:pt>
                <c:pt idx="2">
                  <c:v>5.9738757991362412E-2</c:v>
                </c:pt>
                <c:pt idx="3">
                  <c:v>5.0068014527423786E-2</c:v>
                </c:pt>
                <c:pt idx="4">
                  <c:v>4.5734020221061551E-2</c:v>
                </c:pt>
                <c:pt idx="5">
                  <c:v>4.4773938195376957E-2</c:v>
                </c:pt>
                <c:pt idx="6">
                  <c:v>4.4386468820124106E-2</c:v>
                </c:pt>
                <c:pt idx="7">
                  <c:v>4.3056248137051709E-2</c:v>
                </c:pt>
                <c:pt idx="8">
                  <c:v>4.209248507403749E-2</c:v>
                </c:pt>
                <c:pt idx="9">
                  <c:v>3.25819003120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2</c:v>
                </c:pt>
                <c:pt idx="1">
                  <c:v>0.27659363881592303</c:v>
                </c:pt>
                <c:pt idx="2">
                  <c:v>0</c:v>
                </c:pt>
                <c:pt idx="3">
                  <c:v>-9.8038837549818056E-2</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5.8222364219167093E-2</c:v>
                </c:pt>
                <c:pt idx="2">
                  <c:v>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5</c:v>
                </c:pt>
                <c:pt idx="1">
                  <c:v>0.49558489716524023</c:v>
                </c:pt>
                <c:pt idx="2">
                  <c:v>0</c:v>
                </c:pt>
                <c:pt idx="3">
                  <c:v>-0.27028965181869152</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19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38</c:v>
                </c:pt>
                <c:pt idx="1">
                  <c:v>0.1701720597850743</c:v>
                </c:pt>
                <c:pt idx="2">
                  <c:v>0.11515522640911804</c:v>
                </c:pt>
                <c:pt idx="3">
                  <c:v>8.983632393519618E-2</c:v>
                </c:pt>
                <c:pt idx="4">
                  <c:v>8.0061201553485187E-2</c:v>
                </c:pt>
                <c:pt idx="5">
                  <c:v>2.9988974517257051E-2</c:v>
                </c:pt>
                <c:pt idx="6">
                  <c:v>2.7460647537233034E-2</c:v>
                </c:pt>
                <c:pt idx="7">
                  <c:v>2.4023447018215117E-2</c:v>
                </c:pt>
                <c:pt idx="8">
                  <c:v>1.8701302690732287E-2</c:v>
                </c:pt>
                <c:pt idx="9">
                  <c:v>1.78768101618183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34.06346647362523</c:v>
                </c:pt>
                <c:pt idx="1">
                  <c:v>127.65936388159227</c:v>
                </c:pt>
                <c:pt idx="2">
                  <c:v>125.73433144985241</c:v>
                </c:pt>
                <c:pt idx="3">
                  <c:v>123.87377192585951</c:v>
                </c:pt>
                <c:pt idx="4">
                  <c:v>122.07380077476604</c:v>
                </c:pt>
                <c:pt idx="5">
                  <c:v>112.88065357415135</c:v>
                </c:pt>
                <c:pt idx="6">
                  <c:v>105.59920079849559</c:v>
                </c:pt>
                <c:pt idx="7">
                  <c:v>102.59976234626653</c:v>
                </c:pt>
                <c:pt idx="8">
                  <c:v>100</c:v>
                </c:pt>
                <c:pt idx="9">
                  <c:v>97.703096171857695</c:v>
                </c:pt>
                <c:pt idx="10">
                  <c:v>95.5688308397783</c:v>
                </c:pt>
                <c:pt idx="11">
                  <c:v>93.626086063032304</c:v>
                </c:pt>
                <c:pt idx="12">
                  <c:v>91.843411661283156</c:v>
                </c:pt>
                <c:pt idx="13">
                  <c:v>90.196116245018203</c:v>
                </c:pt>
                <c:pt idx="14">
                  <c:v>88.917527397846158</c:v>
                </c:pt>
                <c:pt idx="15">
                  <c:v>87.68688426249463</c:v>
                </c:pt>
                <c:pt idx="16">
                  <c:v>86.500594520809031</c:v>
                </c:pt>
                <c:pt idx="17">
                  <c:v>85.687801608236924</c:v>
                </c:pt>
                <c:pt idx="18">
                  <c:v>84.907587824237552</c:v>
                </c:pt>
                <c:pt idx="19">
                  <c:v>84.157097257382702</c:v>
                </c:pt>
                <c:pt idx="20">
                  <c:v>83.433848884106993</c:v>
                </c:pt>
                <c:pt idx="21">
                  <c:v>82.7356759936598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c:v>
                </c:pt>
                <c:pt idx="9">
                  <c:v>99.278318689759601</c:v>
                </c:pt>
                <c:pt idx="10">
                  <c:v>98.650884932171849</c:v>
                </c:pt>
                <c:pt idx="11">
                  <c:v>98.155069814247426</c:v>
                </c:pt>
                <c:pt idx="12">
                  <c:v>97.766730142738908</c:v>
                </c:pt>
                <c:pt idx="13">
                  <c:v>97.466980467579447</c:v>
                </c:pt>
                <c:pt idx="14">
                  <c:v>97.517312209461892</c:v>
                </c:pt>
                <c:pt idx="15">
                  <c:v>97.579768944981154</c:v>
                </c:pt>
                <c:pt idx="16">
                  <c:v>97.65261681441261</c:v>
                </c:pt>
                <c:pt idx="17">
                  <c:v>98.114107321949291</c:v>
                </c:pt>
                <c:pt idx="18">
                  <c:v>98.58717371007792</c:v>
                </c:pt>
                <c:pt idx="19">
                  <c:v>99.070033132775592</c:v>
                </c:pt>
                <c:pt idx="20">
                  <c:v>99.561165487813881</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95.31598000783049</c:v>
                </c:pt>
                <c:pt idx="1">
                  <c:v>95.374882107385687</c:v>
                </c:pt>
                <c:pt idx="2">
                  <c:v>98.479203145953036</c:v>
                </c:pt>
                <c:pt idx="3">
                  <c:v>101.49725584630723</c:v>
                </c:pt>
                <c:pt idx="4">
                  <c:v>104.43270485293668</c:v>
                </c:pt>
                <c:pt idx="5">
                  <c:v>100.64621982516935</c:v>
                </c:pt>
                <c:pt idx="6">
                  <c:v>97.96903929483301</c:v>
                </c:pt>
                <c:pt idx="7">
                  <c:v>98.893045103049545</c:v>
                </c:pt>
                <c:pt idx="8">
                  <c:v>1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36443359853939256</c:v>
                </c:pt>
                <c:pt idx="1">
                  <c:v>0.37598935129322186</c:v>
                </c:pt>
                <c:pt idx="2">
                  <c:v>0.38713239859155729</c:v>
                </c:pt>
                <c:pt idx="3">
                  <c:v>0.39788446177416165</c:v>
                </c:pt>
                <c:pt idx="4">
                  <c:v>0.40826576415736554</c:v>
                </c:pt>
                <c:pt idx="5">
                  <c:v>0.41829515798520678</c:v>
                </c:pt>
                <c:pt idx="6">
                  <c:v>0.42799023868545333</c:v>
                </c:pt>
                <c:pt idx="7">
                  <c:v>0.43736744788733106</c:v>
                </c:pt>
                <c:pt idx="8">
                  <c:v>0.44644216646979351</c:v>
                </c:pt>
                <c:pt idx="9">
                  <c:v>0.45522879874805078</c:v>
                </c:pt>
                <c:pt idx="10">
                  <c:v>0.46374084876761251</c:v>
                </c:pt>
                <c:pt idx="11">
                  <c:v>0.47199098955580326</c:v>
                </c:pt>
                <c:pt idx="12">
                  <c:v>0.47999112607768502</c:v>
                </c:pt>
                <c:pt idx="13">
                  <c:v>0.48775245255413729</c:v>
                </c:pt>
                <c:pt idx="14">
                  <c:v>0.49528550472245875</c:v>
                </c:pt>
                <c:pt idx="15">
                  <c:v>0.50260020755256818</c:v>
                </c:pt>
                <c:pt idx="16">
                  <c:v>0.50970591887324568</c:v>
                </c:pt>
                <c:pt idx="17">
                  <c:v>0.51661146931165058</c:v>
                </c:pt>
                <c:pt idx="18">
                  <c:v>0.52332519890454454</c:v>
                </c:pt>
                <c:pt idx="19">
                  <c:v>0.52985499070037256</c:v>
                </c:pt>
                <c:pt idx="20">
                  <c:v>0.53620830163685407</c:v>
                </c:pt>
                <c:pt idx="21">
                  <c:v>0.542392190948362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7.1898594127137894E-2</c:v>
                </c:pt>
                <c:pt idx="1">
                  <c:v>4.9823667482692666E-2</c:v>
                </c:pt>
                <c:pt idx="2">
                  <c:v>4.602588852654646E-2</c:v>
                </c:pt>
                <c:pt idx="3">
                  <c:v>4.5951000193343437E-2</c:v>
                </c:pt>
                <c:pt idx="4">
                  <c:v>4.5533273023988477E-2</c:v>
                </c:pt>
                <c:pt idx="5">
                  <c:v>3.7615659730039011E-2</c:v>
                </c:pt>
                <c:pt idx="6">
                  <c:v>3.677778768938645E-2</c:v>
                </c:pt>
                <c:pt idx="7">
                  <c:v>2.9544412644334741E-2</c:v>
                </c:pt>
                <c:pt idx="8">
                  <c:v>2.6841518394955868E-2</c:v>
                </c:pt>
                <c:pt idx="9">
                  <c:v>2.67340629636825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7.8499597133306676E-2</c:v>
                </c:pt>
                <c:pt idx="1">
                  <c:v>5.4860112256719815E-2</c:v>
                </c:pt>
                <c:pt idx="2">
                  <c:v>4.9352528289586937E-2</c:v>
                </c:pt>
                <c:pt idx="3">
                  <c:v>4.6238881784884243E-2</c:v>
                </c:pt>
                <c:pt idx="4">
                  <c:v>3.6703360760759557E-2</c:v>
                </c:pt>
                <c:pt idx="5">
                  <c:v>3.5184225500401074E-2</c:v>
                </c:pt>
                <c:pt idx="6">
                  <c:v>3.4596495213551529E-2</c:v>
                </c:pt>
                <c:pt idx="7">
                  <c:v>3.405890609820876E-2</c:v>
                </c:pt>
                <c:pt idx="8">
                  <c:v>2.9644138163190031E-2</c:v>
                </c:pt>
                <c:pt idx="9">
                  <c:v>2.649202289174755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c:v>
                </c:pt>
                <c:pt idx="6">
                  <c:v>96.699964345559479</c:v>
                </c:pt>
                <c:pt idx="7">
                  <c:v>93.630639520424268</c:v>
                </c:pt>
                <c:pt idx="8">
                  <c:v>90.762209925397499</c:v>
                </c:pt>
                <c:pt idx="9">
                  <c:v>88.070330860722351</c:v>
                </c:pt>
                <c:pt idx="10">
                  <c:v>87.151486254866668</c:v>
                </c:pt>
                <c:pt idx="11">
                  <c:v>86.245570654982956</c:v>
                </c:pt>
                <c:pt idx="12">
                  <c:v>85.352348735754063</c:v>
                </c:pt>
                <c:pt idx="13">
                  <c:v>84.471590063627843</c:v>
                </c:pt>
                <c:pt idx="14">
                  <c:v>83.603068997895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c:v>
                </c:pt>
                <c:pt idx="6">
                  <c:v>98.945692666054427</c:v>
                </c:pt>
                <c:pt idx="7">
                  <c:v>97.979556068834938</c:v>
                </c:pt>
                <c:pt idx="8">
                  <c:v>97.08577059111559</c:v>
                </c:pt>
                <c:pt idx="9">
                  <c:v>96.251726050903912</c:v>
                </c:pt>
                <c:pt idx="10">
                  <c:v>97.271034741296631</c:v>
                </c:pt>
                <c:pt idx="11">
                  <c:v>98.262346350359195</c:v>
                </c:pt>
                <c:pt idx="12">
                  <c:v>99.226292287580947</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D$2:$D$16</c:f>
              <c:numCache>
                <c:formatCode>General</c:formatCode>
                <c:ptCount val="15"/>
                <c:pt idx="0">
                  <c:v>92.943194923320988</c:v>
                </c:pt>
                <c:pt idx="1">
                  <c:v>94.113439259372839</c:v>
                </c:pt>
                <c:pt idx="2">
                  <c:v>95.435916526485457</c:v>
                </c:pt>
                <c:pt idx="3">
                  <c:v>96.875751232203086</c:v>
                </c:pt>
                <c:pt idx="4">
                  <c:v>98.404693550927334</c:v>
                </c:pt>
                <c:pt idx="5">
                  <c:v>100</c:v>
                </c:pt>
                <c:pt idx="6">
                  <c:v>100.7875967190339</c:v>
                </c:pt>
                <c:pt idx="7">
                  <c:v>101.54641561906092</c:v>
                </c:pt>
                <c:pt idx="8">
                  <c:v>102.27211740333668</c:v>
                </c:pt>
                <c:pt idx="9">
                  <c:v>102.96171734696455</c:v>
                </c:pt>
                <c:pt idx="10">
                  <c:v>105.57151562213521</c:v>
                </c:pt>
                <c:pt idx="11">
                  <c:v>108.11984056173959</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E$2:$E$16</c:f>
              <c:numCache>
                <c:formatCode>General</c:formatCode>
                <c:ptCount val="15"/>
                <c:pt idx="0">
                  <c:v>0.49096625027309826</c:v>
                </c:pt>
                <c:pt idx="1">
                  <c:v>0.50401839770199319</c:v>
                </c:pt>
                <c:pt idx="2">
                  <c:v>0.51641793775944334</c:v>
                </c:pt>
                <c:pt idx="3">
                  <c:v>0.52821262220433507</c:v>
                </c:pt>
                <c:pt idx="4">
                  <c:v>0.53944565500899377</c:v>
                </c:pt>
                <c:pt idx="5">
                  <c:v>0.55015622117157525</c:v>
                </c:pt>
                <c:pt idx="6">
                  <c:v>0.56037994341767572</c:v>
                </c:pt>
                <c:pt idx="7">
                  <c:v>0.57014927800839388</c:v>
                </c:pt>
                <c:pt idx="8">
                  <c:v>0.57949385892125505</c:v>
                </c:pt>
                <c:pt idx="9">
                  <c:v>0.5884407980931432</c:v>
                </c:pt>
                <c:pt idx="10">
                  <c:v>0.59701494813286959</c:v>
                </c:pt>
                <c:pt idx="11">
                  <c:v>0.60523913286485176</c:v>
                </c:pt>
                <c:pt idx="12">
                  <c:v>0.6131343502075548</c:v>
                </c:pt>
                <c:pt idx="13">
                  <c:v>0.62071995118387713</c:v>
                </c:pt>
                <c:pt idx="14">
                  <c:v>0.62801379827649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6.2948584521344705E-2</c:v>
                </c:pt>
                <c:pt idx="1">
                  <c:v>5.3268850745401296E-2</c:v>
                </c:pt>
                <c:pt idx="2">
                  <c:v>4.2658334073890788E-2</c:v>
                </c:pt>
                <c:pt idx="3">
                  <c:v>4.1840887292482219E-2</c:v>
                </c:pt>
                <c:pt idx="4">
                  <c:v>4.1306609505925143E-2</c:v>
                </c:pt>
                <c:pt idx="5">
                  <c:v>4.1065304647232868E-2</c:v>
                </c:pt>
                <c:pt idx="6">
                  <c:v>3.6708327742805538E-2</c:v>
                </c:pt>
                <c:pt idx="7">
                  <c:v>3.5543923385467989E-2</c:v>
                </c:pt>
                <c:pt idx="8">
                  <c:v>3.5381114790461153E-2</c:v>
                </c:pt>
                <c:pt idx="9">
                  <c:v>3.14445070167785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6.3622368821962288E-2</c:v>
                </c:pt>
                <c:pt idx="1">
                  <c:v>5.8922651971982543E-2</c:v>
                </c:pt>
                <c:pt idx="2">
                  <c:v>4.9749246911446915E-2</c:v>
                </c:pt>
                <c:pt idx="3">
                  <c:v>4.1277444824929108E-2</c:v>
                </c:pt>
                <c:pt idx="4">
                  <c:v>3.3909159102534607E-2</c:v>
                </c:pt>
                <c:pt idx="5">
                  <c:v>3.3320268506164853E-2</c:v>
                </c:pt>
                <c:pt idx="6">
                  <c:v>3.2032099982765086E-2</c:v>
                </c:pt>
                <c:pt idx="7">
                  <c:v>2.965614379475125E-2</c:v>
                </c:pt>
                <c:pt idx="8">
                  <c:v>2.6733445349503317E-2</c:v>
                </c:pt>
                <c:pt idx="9">
                  <c:v>2.494891391562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55.85408320297321</c:v>
                </c:pt>
                <c:pt idx="1">
                  <c:v>149.55848971652404</c:v>
                </c:pt>
                <c:pt idx="2">
                  <c:v>147.82254080738397</c:v>
                </c:pt>
                <c:pt idx="3">
                  <c:v>146.12018891387021</c:v>
                </c:pt>
                <c:pt idx="4">
                  <c:v>144.45030998662821</c:v>
                </c:pt>
                <c:pt idx="5">
                  <c:v>122.08775267845226</c:v>
                </c:pt>
                <c:pt idx="6">
                  <c:v>103.08710422121199</c:v>
                </c:pt>
                <c:pt idx="7">
                  <c:v>101.47340677541177</c:v>
                </c:pt>
                <c:pt idx="8">
                  <c:v>100</c:v>
                </c:pt>
                <c:pt idx="9">
                  <c:v>98.641487296521234</c:v>
                </c:pt>
                <c:pt idx="10">
                  <c:v>92.081678092042594</c:v>
                </c:pt>
                <c:pt idx="11">
                  <c:v>86.300067683740949</c:v>
                </c:pt>
                <c:pt idx="12">
                  <c:v>81.212156613956353</c:v>
                </c:pt>
                <c:pt idx="13">
                  <c:v>76.72564782439558</c:v>
                </c:pt>
                <c:pt idx="14">
                  <c:v>74.807871671564044</c:v>
                </c:pt>
                <c:pt idx="15">
                  <c:v>72.971034818130832</c:v>
                </c:pt>
                <c:pt idx="16">
                  <c:v>71.210322621614964</c:v>
                </c:pt>
                <c:pt idx="17">
                  <c:v>68.558793578400198</c:v>
                </c:pt>
                <c:pt idx="18">
                  <c:v>66.119347763558793</c:v>
                </c:pt>
                <c:pt idx="19">
                  <c:v>63.870793166030182</c:v>
                </c:pt>
                <c:pt idx="20">
                  <c:v>61.79353117591485</c:v>
                </c:pt>
                <c:pt idx="21">
                  <c:v>59.8696403477295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36.61802028503436</c:v>
                </c:pt>
                <c:pt idx="1">
                  <c:v>133.43000530012941</c:v>
                </c:pt>
                <c:pt idx="2">
                  <c:v>134.22166232650079</c:v>
                </c:pt>
                <c:pt idx="3">
                  <c:v>134.98858648261046</c:v>
                </c:pt>
                <c:pt idx="4">
                  <c:v>135.73137261575926</c:v>
                </c:pt>
                <c:pt idx="5">
                  <c:v>116.45187397758458</c:v>
                </c:pt>
                <c:pt idx="6">
                  <c:v>99.822773681564442</c:v>
                </c:pt>
                <c:pt idx="7">
                  <c:v>99.866566830636543</c:v>
                </c:pt>
                <c:pt idx="8">
                  <c:v>100</c:v>
                </c:pt>
                <c:pt idx="9">
                  <c:v>100.20377182752887</c:v>
                </c:pt>
                <c:pt idx="10">
                  <c:v>94.97545210119786</c:v>
                </c:pt>
                <c:pt idx="11">
                  <c:v>90.360644710309501</c:v>
                </c:pt>
                <c:pt idx="12">
                  <c:v>86.30500742649248</c:v>
                </c:pt>
                <c:pt idx="13">
                  <c:v>82.740746278465181</c:v>
                </c:pt>
                <c:pt idx="14">
                  <c:v>81.854496122445994</c:v>
                </c:pt>
                <c:pt idx="15">
                  <c:v>80.997762355674297</c:v>
                </c:pt>
                <c:pt idx="16">
                  <c:v>80.168928166860439</c:v>
                </c:pt>
                <c:pt idx="17">
                  <c:v>78.266092837372852</c:v>
                </c:pt>
                <c:pt idx="18">
                  <c:v>76.525702213441676</c:v>
                </c:pt>
                <c:pt idx="19">
                  <c:v>74.932792333344821</c:v>
                </c:pt>
                <c:pt idx="20">
                  <c:v>73.472983518364416</c:v>
                </c:pt>
                <c:pt idx="21">
                  <c:v>72.1327019879764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1</c:v>
                </c:pt>
                <c:pt idx="5">
                  <c:v>113.0041429481283</c:v>
                </c:pt>
                <c:pt idx="6">
                  <c:v>97.97382571220939</c:v>
                </c:pt>
                <c:pt idx="7">
                  <c:v>98.956788455303695</c:v>
                </c:pt>
                <c:pt idx="8">
                  <c:v>100</c:v>
                </c:pt>
                <c:pt idx="9">
                  <c:v>101.08787184141552</c:v>
                </c:pt>
                <c:pt idx="10">
                  <c:v>96.649070582286342</c:v>
                </c:pt>
                <c:pt idx="11">
                  <c:v>92.720991300905851</c:v>
                </c:pt>
                <c:pt idx="12">
                  <c:v>89.268651715279603</c:v>
                </c:pt>
                <c:pt idx="13">
                  <c:v>86.239922404946299</c:v>
                </c:pt>
                <c:pt idx="14">
                  <c:v>85.939627250853746</c:v>
                </c:pt>
                <c:pt idx="15">
                  <c:v>85.639198253985541</c:v>
                </c:pt>
                <c:pt idx="16">
                  <c:v>85.338887587370323</c:v>
                </c:pt>
                <c:pt idx="17">
                  <c:v>83.861589578459899</c:v>
                </c:pt>
                <c:pt idx="18">
                  <c:v>82.517453157187035</c:v>
                </c:pt>
                <c:pt idx="19">
                  <c:v>81.29528443327888</c:v>
                </c:pt>
                <c:pt idx="20">
                  <c:v>80.18385481595972</c:v>
                </c:pt>
                <c:pt idx="21">
                  <c:v>79.1722093711689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5985432144208519</c:v>
                </c:pt>
                <c:pt idx="1">
                  <c:v>0.60584242870410909</c:v>
                </c:pt>
                <c:pt idx="2">
                  <c:v>0.61288095676296428</c:v>
                </c:pt>
                <c:pt idx="3">
                  <c:v>0.61967251892501751</c:v>
                </c:pt>
                <c:pt idx="4">
                  <c:v>0.62622988928837919</c:v>
                </c:pt>
                <c:pt idx="5">
                  <c:v>0.63256497591061012</c:v>
                </c:pt>
                <c:pt idx="6">
                  <c:v>0.63868889297876652</c:v>
                </c:pt>
                <c:pt idx="7">
                  <c:v>0.64461202588075395</c:v>
                </c:pt>
                <c:pt idx="8">
                  <c:v>0.65034408997945148</c:v>
                </c:pt>
                <c:pt idx="9">
                  <c:v>0.65589418378930153</c:v>
                </c:pt>
                <c:pt idx="10">
                  <c:v>0.66127083716759372</c:v>
                </c:pt>
                <c:pt idx="11">
                  <c:v>0.66648205505732305</c:v>
                </c:pt>
                <c:pt idx="12">
                  <c:v>0.67153535725342417</c:v>
                </c:pt>
                <c:pt idx="13">
                  <c:v>0.67643781460785057</c:v>
                </c:pt>
                <c:pt idx="14">
                  <c:v>0.68119608204008808</c:v>
                </c:pt>
                <c:pt idx="15">
                  <c:v>0.68581642867718828</c:v>
                </c:pt>
                <c:pt idx="16">
                  <c:v>0.69030476541037145</c:v>
                </c:pt>
                <c:pt idx="17">
                  <c:v>0.6946666701229014</c:v>
                </c:pt>
                <c:pt idx="18">
                  <c:v>0.6989074108156389</c:v>
                </c:pt>
                <c:pt idx="19">
                  <c:v>0.70303196683186298</c:v>
                </c:pt>
                <c:pt idx="20">
                  <c:v>0.70704504836116211</c:v>
                </c:pt>
                <c:pt idx="21">
                  <c:v>0.710951114383013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9.766611893311955E-2</c:v>
                </c:pt>
                <c:pt idx="2">
                  <c:v>8.3812207857812349E-2</c:v>
                </c:pt>
                <c:pt idx="3">
                  <c:v>6.9612806672645688E-2</c:v>
                </c:pt>
                <c:pt idx="4">
                  <c:v>6.2534181846966103E-2</c:v>
                </c:pt>
                <c:pt idx="5">
                  <c:v>5.8622286555361856E-2</c:v>
                </c:pt>
                <c:pt idx="6">
                  <c:v>4.1198331069324134E-2</c:v>
                </c:pt>
                <c:pt idx="7">
                  <c:v>3.6906323854267321E-2</c:v>
                </c:pt>
                <c:pt idx="8">
                  <c:v>3.3189270815202628E-2</c:v>
                </c:pt>
                <c:pt idx="9">
                  <c:v>3.30746605264338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9.4149819231811122E-2</c:v>
                </c:pt>
                <c:pt idx="2">
                  <c:v>8.322646725133051E-2</c:v>
                </c:pt>
                <c:pt idx="3">
                  <c:v>6.9805922550125674E-2</c:v>
                </c:pt>
                <c:pt idx="4">
                  <c:v>6.7416074098599926E-2</c:v>
                </c:pt>
                <c:pt idx="5">
                  <c:v>5.5224880028919003E-2</c:v>
                </c:pt>
                <c:pt idx="6">
                  <c:v>5.3245281346329117E-2</c:v>
                </c:pt>
                <c:pt idx="7">
                  <c:v>3.9167921841291226E-2</c:v>
                </c:pt>
                <c:pt idx="8">
                  <c:v>3.8804505158195585E-2</c:v>
                </c:pt>
                <c:pt idx="9">
                  <c:v>3.86558209774650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25</c:v>
                </c:pt>
                <c:pt idx="1">
                  <c:v>0.20317794469656345</c:v>
                </c:pt>
                <c:pt idx="2">
                  <c:v>0</c:v>
                </c:pt>
                <c:pt idx="3">
                  <c:v>-0.14605814917767412</c:v>
                </c:pt>
                <c:pt idx="4">
                  <c:v>-0.3443807184502689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5"/>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69</c:v>
                </c:pt>
                <c:pt idx="2">
                  <c:v>0.10545776663491692</c:v>
                </c:pt>
                <c:pt idx="3">
                  <c:v>6.8362376341264186E-2</c:v>
                </c:pt>
                <c:pt idx="4">
                  <c:v>5.9428372289544659E-2</c:v>
                </c:pt>
                <c:pt idx="5">
                  <c:v>3.5604539584786835E-2</c:v>
                </c:pt>
                <c:pt idx="6">
                  <c:v>3.4628811095822748E-2</c:v>
                </c:pt>
                <c:pt idx="7">
                  <c:v>2.4598080091871932E-2</c:v>
                </c:pt>
                <c:pt idx="8">
                  <c:v>2.3949768521075779E-2</c:v>
                </c:pt>
                <c:pt idx="9">
                  <c:v>2.24106725242098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c:v>
                </c:pt>
                <c:pt idx="12">
                  <c:v>97.4319316019387</c:v>
                </c:pt>
                <c:pt idx="13">
                  <c:v>95.01443054911428</c:v>
                </c:pt>
                <c:pt idx="14">
                  <c:v>92.73298351551604</c:v>
                </c:pt>
                <c:pt idx="15">
                  <c:v>88.954276138906451</c:v>
                </c:pt>
                <c:pt idx="16">
                  <c:v>85.394185082232596</c:v>
                </c:pt>
                <c:pt idx="17">
                  <c:v>82.039456100917846</c:v>
                </c:pt>
                <c:pt idx="18">
                  <c:v>78.877512517034418</c:v>
                </c:pt>
                <c:pt idx="19">
                  <c:v>75.896413489318391</c:v>
                </c:pt>
                <c:pt idx="20">
                  <c:v>73.084814180221883</c:v>
                </c:pt>
                <c:pt idx="21">
                  <c:v>70.431934760261925</c:v>
                </c:pt>
                <c:pt idx="22">
                  <c:v>67.927540039814446</c:v>
                </c:pt>
                <c:pt idx="23">
                  <c:v>65.5619281549730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C$2:$C$25</c:f>
              <c:numCache>
                <c:formatCode>General</c:formatCode>
                <c:ptCount val="24"/>
                <c:pt idx="0">
                  <c:v>128.68434748669429</c:v>
                </c:pt>
                <c:pt idx="1">
                  <c:v>122.87043473407732</c:v>
                </c:pt>
                <c:pt idx="2">
                  <c:v>117.72146019412919</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c:v>
                </c:pt>
                <c:pt idx="12">
                  <c:v>98.721472813780878</c:v>
                </c:pt>
                <c:pt idx="13">
                  <c:v>97.530094020880895</c:v>
                </c:pt>
                <c:pt idx="14">
                  <c:v>96.416655145785739</c:v>
                </c:pt>
                <c:pt idx="15">
                  <c:v>93.65206794776195</c:v>
                </c:pt>
                <c:pt idx="16">
                  <c:v>91.022861159613726</c:v>
                </c:pt>
                <c:pt idx="17">
                  <c:v>88.523095494958667</c:v>
                </c:pt>
                <c:pt idx="18">
                  <c:v>86.146909603380976</c:v>
                </c:pt>
                <c:pt idx="19">
                  <c:v>83.888514090194491</c:v>
                </c:pt>
                <c:pt idx="20">
                  <c:v>81.742184827377457</c:v>
                </c:pt>
                <c:pt idx="21">
                  <c:v>79.702263602113305</c:v>
                </c:pt>
                <c:pt idx="22">
                  <c:v>77.763168934089748</c:v>
                </c:pt>
                <c:pt idx="23">
                  <c:v>75.9194161644920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D$2:$D$25</c:f>
              <c:numCache>
                <c:formatCode>General</c:formatCode>
                <c:ptCount val="24"/>
                <c:pt idx="0">
                  <c:v>109.6749915141225</c:v>
                </c:pt>
                <c:pt idx="1">
                  <c:v>106.6435209516208</c:v>
                </c:pt>
                <c:pt idx="2">
                  <c:v>103.95842898391103</c:v>
                </c:pt>
                <c:pt idx="3">
                  <c:v>101.61085704339553</c:v>
                </c:pt>
                <c:pt idx="4">
                  <c:v>99.575076929785467</c:v>
                </c:pt>
                <c:pt idx="5">
                  <c:v>100.10189050829459</c:v>
                </c:pt>
                <c:pt idx="6">
                  <c:v>100.60545454186816</c:v>
                </c:pt>
                <c:pt idx="7">
                  <c:v>101.08737609568806</c:v>
                </c:pt>
                <c:pt idx="8">
                  <c:v>100.74347953187836</c:v>
                </c:pt>
                <c:pt idx="9">
                  <c:v>100.45089656299437</c:v>
                </c:pt>
                <c:pt idx="10">
                  <c:v>100.20477021119672</c:v>
                </c:pt>
                <c:pt idx="11">
                  <c:v>100</c:v>
                </c:pt>
                <c:pt idx="12">
                  <c:v>99.831532764713288</c:v>
                </c:pt>
                <c:pt idx="13">
                  <c:v>99.694554083101195</c:v>
                </c:pt>
                <c:pt idx="14">
                  <c:v>99.584603043511663</c:v>
                </c:pt>
                <c:pt idx="15">
                  <c:v>97.717513445081096</c:v>
                </c:pt>
                <c:pt idx="16">
                  <c:v>95.909833414787954</c:v>
                </c:pt>
                <c:pt idx="17">
                  <c:v>94.162502684297266</c:v>
                </c:pt>
                <c:pt idx="18">
                  <c:v>92.475949636001843</c:v>
                </c:pt>
                <c:pt idx="19">
                  <c:v>90.850124788275394</c:v>
                </c:pt>
                <c:pt idx="20">
                  <c:v>89.28453043177592</c:v>
                </c:pt>
                <c:pt idx="21">
                  <c:v>87.778255393386488</c:v>
                </c:pt>
                <c:pt idx="22">
                  <c:v>86.330018726461418</c:v>
                </c:pt>
                <c:pt idx="23">
                  <c:v>84.93822212116442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E$2:$E$25</c:f>
              <c:numCache>
                <c:formatCode>General</c:formatCode>
                <c:ptCount val="24"/>
                <c:pt idx="0">
                  <c:v>0.4698950115320375</c:v>
                </c:pt>
                <c:pt idx="1">
                  <c:v>0.47817790197684951</c:v>
                </c:pt>
                <c:pt idx="2">
                  <c:v>0.48620593425412878</c:v>
                </c:pt>
                <c:pt idx="3">
                  <c:v>0.4939906928260358</c:v>
                </c:pt>
                <c:pt idx="4">
                  <c:v>0.5015430705450501</c:v>
                </c:pt>
                <c:pt idx="5">
                  <c:v>0.50887331950762282</c:v>
                </c:pt>
                <c:pt idx="6">
                  <c:v>0.51599109748577332</c:v>
                </c:pt>
                <c:pt idx="7">
                  <c:v>0.52290551037883382</c:v>
                </c:pt>
                <c:pt idx="8">
                  <c:v>0.52962515107772346</c:v>
                </c:pt>
                <c:pt idx="9">
                  <c:v>0.53615813509053301</c:v>
                </c:pt>
                <c:pt idx="10">
                  <c:v>0.5425121332399776</c:v>
                </c:pt>
                <c:pt idx="11">
                  <c:v>0.54869440170970762</c:v>
                </c:pt>
                <c:pt idx="12">
                  <c:v>0.55471180968691147</c:v>
                </c:pt>
                <c:pt idx="13">
                  <c:v>0.56057086482260998</c:v>
                </c:pt>
                <c:pt idx="14">
                  <c:v>0.56627773670803083</c:v>
                </c:pt>
                <c:pt idx="15">
                  <c:v>0.57183827854510738</c:v>
                </c:pt>
                <c:pt idx="16">
                  <c:v>0.57725804717111873</c:v>
                </c:pt>
                <c:pt idx="17">
                  <c:v>0.58254232158147956</c:v>
                </c:pt>
                <c:pt idx="18">
                  <c:v>0.58769612008047356</c:v>
                </c:pt>
                <c:pt idx="19">
                  <c:v>0.59272421617705329</c:v>
                </c:pt>
                <c:pt idx="20">
                  <c:v>0.59763115333154659</c:v>
                </c:pt>
                <c:pt idx="21">
                  <c:v>0.60242125864902829</c:v>
                </c:pt>
                <c:pt idx="22">
                  <c:v>0.60709865560609833</c:v>
                </c:pt>
                <c:pt idx="23">
                  <c:v>0.61166727588974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8.5704382799818873E-2</c:v>
                </c:pt>
                <c:pt idx="1">
                  <c:v>7.5944809619357345E-2</c:v>
                </c:pt>
                <c:pt idx="2">
                  <c:v>7.0505072179478448E-2</c:v>
                </c:pt>
                <c:pt idx="3">
                  <c:v>6.4841832536514168E-2</c:v>
                </c:pt>
                <c:pt idx="4">
                  <c:v>6.09285664437587E-2</c:v>
                </c:pt>
                <c:pt idx="5">
                  <c:v>5.4081861101219326E-2</c:v>
                </c:pt>
                <c:pt idx="6">
                  <c:v>5.1418079436834331E-2</c:v>
                </c:pt>
                <c:pt idx="7">
                  <c:v>4.4687244331958913E-2</c:v>
                </c:pt>
                <c:pt idx="8">
                  <c:v>3.7323638531055608E-2</c:v>
                </c:pt>
                <c:pt idx="9">
                  <c:v>3.60099132794649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9.2642771539483845E-2</c:v>
                </c:pt>
                <c:pt idx="1">
                  <c:v>8.6558273248948006E-2</c:v>
                </c:pt>
                <c:pt idx="2">
                  <c:v>7.8509401402961337E-2</c:v>
                </c:pt>
                <c:pt idx="3">
                  <c:v>6.9257033182909766E-2</c:v>
                </c:pt>
                <c:pt idx="4">
                  <c:v>6.1515943470542032E-2</c:v>
                </c:pt>
                <c:pt idx="5">
                  <c:v>5.1231784092336009E-2</c:v>
                </c:pt>
                <c:pt idx="6">
                  <c:v>4.9288757586426868E-2</c:v>
                </c:pt>
                <c:pt idx="7">
                  <c:v>3.7420812805889547E-2</c:v>
                </c:pt>
                <c:pt idx="8">
                  <c:v>3.292495383082443E-2</c:v>
                </c:pt>
                <c:pt idx="9">
                  <c:v>3.09595098379411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5</c:v>
                </c:pt>
                <c:pt idx="1">
                  <c:v>0.2141366069549458</c:v>
                </c:pt>
                <c:pt idx="2">
                  <c:v>0</c:v>
                </c:pt>
                <c:pt idx="3">
                  <c:v>-0.12366987013302885</c:v>
                </c:pt>
                <c:pt idx="4">
                  <c:v>-0.2030041091112647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7.0587218378577704E-2</c:v>
                </c:pt>
                <c:pt idx="2">
                  <c:v>0</c:v>
                </c:pt>
                <c:pt idx="3">
                  <c:v>-8.7779356036396736E-2</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9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c:v>
                </c:pt>
                <c:pt idx="10">
                  <c:v>98.123105899254838</c:v>
                </c:pt>
                <c:pt idx="11">
                  <c:v>96.329671411082714</c:v>
                </c:pt>
                <c:pt idx="12">
                  <c:v>94.613299553277116</c:v>
                </c:pt>
                <c:pt idx="13">
                  <c:v>92.691898738215556</c:v>
                </c:pt>
                <c:pt idx="14">
                  <c:v>90.897331444326085</c:v>
                </c:pt>
                <c:pt idx="15">
                  <c:v>89.215144341504228</c:v>
                </c:pt>
                <c:pt idx="16">
                  <c:v>87.633012986697082</c:v>
                </c:pt>
                <c:pt idx="17">
                  <c:v>86.140387291724593</c:v>
                </c:pt>
                <c:pt idx="18">
                  <c:v>84.728199070688333</c:v>
                </c:pt>
                <c:pt idx="19">
                  <c:v>83.388620892102836</c:v>
                </c:pt>
                <c:pt idx="20">
                  <c:v>81.492898465934189</c:v>
                </c:pt>
                <c:pt idx="21">
                  <c:v>79.6995890888735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c:v>
                </c:pt>
                <c:pt idx="10">
                  <c:v>99.581824325853177</c:v>
                </c:pt>
                <c:pt idx="11">
                  <c:v>99.193792421223577</c:v>
                </c:pt>
                <c:pt idx="12">
                  <c:v>98.832941879303206</c:v>
                </c:pt>
                <c:pt idx="13">
                  <c:v>98.204555479193701</c:v>
                </c:pt>
                <c:pt idx="14">
                  <c:v>97.655260421244549</c:v>
                </c:pt>
                <c:pt idx="15">
                  <c:v>97.174972532623855</c:v>
                </c:pt>
                <c:pt idx="16">
                  <c:v>96.755098617161579</c:v>
                </c:pt>
                <c:pt idx="17">
                  <c:v>96.388297949357622</c:v>
                </c:pt>
                <c:pt idx="18">
                  <c:v>96.068282552440039</c:v>
                </c:pt>
                <c:pt idx="19">
                  <c:v>95.789650336442804</c:v>
                </c:pt>
                <c:pt idx="20">
                  <c:v>94.823109449671605</c:v>
                </c:pt>
                <c:pt idx="21">
                  <c:v>93.9209646344499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strCache>
            </c:strRef>
          </c:cat>
          <c:val>
            <c:numRef>
              <c:f>Sheet1!$E$2:$E$23</c:f>
              <c:numCache>
                <c:formatCode>General</c:formatCode>
                <c:ptCount val="22"/>
                <c:pt idx="0">
                  <c:v>0.64621780746758939</c:v>
                </c:pt>
                <c:pt idx="1">
                  <c:v>0.65221411581559641</c:v>
                </c:pt>
                <c:pt idx="2">
                  <c:v>0.65801054721866969</c:v>
                </c:pt>
                <c:pt idx="3">
                  <c:v>0.66361693169049485</c:v>
                </c:pt>
                <c:pt idx="4">
                  <c:v>0.6690424650503255</c:v>
                </c:pt>
                <c:pt idx="5">
                  <c:v>0.67429575925587582</c:v>
                </c:pt>
                <c:pt idx="6">
                  <c:v>0.67938488801750285</c:v>
                </c:pt>
                <c:pt idx="7">
                  <c:v>0.68431742820184904</c:v>
                </c:pt>
                <c:pt idx="8">
                  <c:v>0.68910049747151791</c:v>
                </c:pt>
                <c:pt idx="9">
                  <c:v>0.69374078855403243</c:v>
                </c:pt>
                <c:pt idx="10">
                  <c:v>0.6982446004870615</c:v>
                </c:pt>
                <c:pt idx="11">
                  <c:v>0.70261786714666929</c:v>
                </c:pt>
                <c:pt idx="12">
                  <c:v>0.70686618333028839</c:v>
                </c:pt>
                <c:pt idx="13">
                  <c:v>0.71099482863549546</c:v>
                </c:pt>
                <c:pt idx="14">
                  <c:v>0.71500878934889145</c:v>
                </c:pt>
                <c:pt idx="15">
                  <c:v>0.71891277853589308</c:v>
                </c:pt>
                <c:pt idx="16">
                  <c:v>0.7227112545016241</c:v>
                </c:pt>
                <c:pt idx="17">
                  <c:v>0.72640843777493558</c:v>
                </c:pt>
                <c:pt idx="18">
                  <c:v>0.73000832675158145</c:v>
                </c:pt>
                <c:pt idx="19">
                  <c:v>0.73351471211844399</c:v>
                </c:pt>
                <c:pt idx="20">
                  <c:v>0.73693119016820752</c:v>
                </c:pt>
                <c:pt idx="21">
                  <c:v>0.740261175102787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9.3908185450763279E-2</c:v>
                </c:pt>
                <c:pt idx="1">
                  <c:v>5.863445581008242E-2</c:v>
                </c:pt>
                <c:pt idx="2">
                  <c:v>5.1383412078337153E-2</c:v>
                </c:pt>
                <c:pt idx="3">
                  <c:v>4.5940179417025453E-2</c:v>
                </c:pt>
                <c:pt idx="4">
                  <c:v>4.4817475754233352E-2</c:v>
                </c:pt>
                <c:pt idx="5">
                  <c:v>4.3633516935183352E-2</c:v>
                </c:pt>
                <c:pt idx="6">
                  <c:v>4.1941341793950662E-2</c:v>
                </c:pt>
                <c:pt idx="7">
                  <c:v>4.1403824748334005E-2</c:v>
                </c:pt>
                <c:pt idx="8">
                  <c:v>3.8301016867297685E-2</c:v>
                </c:pt>
                <c:pt idx="9">
                  <c:v>3.81018328429458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1</c:v>
                </c:pt>
                <c:pt idx="1">
                  <c:v>7.1531170041966324E-2</c:v>
                </c:pt>
                <c:pt idx="2">
                  <c:v>5.4506992555544372E-2</c:v>
                </c:pt>
                <c:pt idx="3">
                  <c:v>5.3679610561651887E-2</c:v>
                </c:pt>
                <c:pt idx="4">
                  <c:v>5.2370558795406419E-2</c:v>
                </c:pt>
                <c:pt idx="5">
                  <c:v>5.1287177872226905E-2</c:v>
                </c:pt>
                <c:pt idx="6">
                  <c:v>4.8286364402672893E-2</c:v>
                </c:pt>
                <c:pt idx="7">
                  <c:v>4.5083723578578767E-2</c:v>
                </c:pt>
                <c:pt idx="8">
                  <c:v>3.4935153064624969E-2</c:v>
                </c:pt>
                <c:pt idx="9">
                  <c:v>3.19032797272756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c:v>
                </c:pt>
                <c:pt idx="12">
                  <c:v>98.85976992750625</c:v>
                </c:pt>
                <c:pt idx="13">
                  <c:v>97.768041949026895</c:v>
                </c:pt>
                <c:pt idx="14">
                  <c:v>96.721224708030249</c:v>
                </c:pt>
                <c:pt idx="15">
                  <c:v>95.716080581792141</c:v>
                </c:pt>
                <c:pt idx="16">
                  <c:v>94.749683726915265</c:v>
                </c:pt>
                <c:pt idx="17">
                  <c:v>93.819383830116209</c:v>
                </c:pt>
                <c:pt idx="18">
                  <c:v>92.922774701067695</c:v>
                </c:pt>
                <c:pt idx="19">
                  <c:v>92.057666985799898</c:v>
                </c:pt>
                <c:pt idx="20">
                  <c:v>91.222064396360295</c:v>
                </c:pt>
                <c:pt idx="21">
                  <c:v>90.206718557292049</c:v>
                </c:pt>
                <c:pt idx="22">
                  <c:v>89.207764692417086</c:v>
                </c:pt>
                <c:pt idx="23">
                  <c:v>88.224831372209437</c:v>
                </c:pt>
                <c:pt idx="24">
                  <c:v>87.257560232425888</c:v>
                </c:pt>
                <c:pt idx="25">
                  <c:v>86.3056052686578</c:v>
                </c:pt>
                <c:pt idx="26">
                  <c:v>85.368632179994123</c:v>
                </c:pt>
                <c:pt idx="27">
                  <c:v>84.4463177577973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96.376526791861465</c:v>
                </c:pt>
                <c:pt idx="1">
                  <c:v>96.282726999973704</c:v>
                </c:pt>
                <c:pt idx="2">
                  <c:v>96.65649616146213</c:v>
                </c:pt>
                <c:pt idx="3">
                  <c:v>97.034898992966703</c:v>
                </c:pt>
                <c:pt idx="4">
                  <c:v>97.416938885334787</c:v>
                </c:pt>
                <c:pt idx="5">
                  <c:v>97.722081995443872</c:v>
                </c:pt>
                <c:pt idx="6">
                  <c:v>98.053827227103056</c:v>
                </c:pt>
                <c:pt idx="7">
                  <c:v>98.40849720887455</c:v>
                </c:pt>
                <c:pt idx="8">
                  <c:v>98.782952009795224</c:v>
                </c:pt>
                <c:pt idx="9">
                  <c:v>99.174504231537071</c:v>
                </c:pt>
                <c:pt idx="10">
                  <c:v>99.580848063678019</c:v>
                </c:pt>
                <c:pt idx="11">
                  <c:v>1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59</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0.131155042815038</c:v>
                </c:pt>
                <c:pt idx="1">
                  <c:v>90.693691583154575</c:v>
                </c:pt>
                <c:pt idx="2">
                  <c:v>91.680768615002762</c:v>
                </c:pt>
                <c:pt idx="3">
                  <c:v>92.659049546559984</c:v>
                </c:pt>
                <c:pt idx="4">
                  <c:v>93.628227754694493</c:v>
                </c:pt>
                <c:pt idx="5">
                  <c:v>94.509438657973959</c:v>
                </c:pt>
                <c:pt idx="6">
                  <c:v>95.404116043503905</c:v>
                </c:pt>
                <c:pt idx="7">
                  <c:v>96.309627879531405</c:v>
                </c:pt>
                <c:pt idx="8">
                  <c:v>97.223737261485198</c:v>
                </c:pt>
                <c:pt idx="9">
                  <c:v>98.144541806436578</c:v>
                </c:pt>
                <c:pt idx="10">
                  <c:v>99.070422413531716</c:v>
                </c:pt>
                <c:pt idx="11">
                  <c:v>1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67877601413772348</c:v>
                </c:pt>
                <c:pt idx="1">
                  <c:v>0.68357040198641417</c:v>
                </c:pt>
                <c:pt idx="2">
                  <c:v>0.68822377842779037</c:v>
                </c:pt>
                <c:pt idx="3">
                  <c:v>0.69274227439260516</c:v>
                </c:pt>
                <c:pt idx="4">
                  <c:v>0.69713167047271085</c:v>
                </c:pt>
                <c:pt idx="5">
                  <c:v>0.70139742159281349</c:v>
                </c:pt>
                <c:pt idx="6">
                  <c:v>0.70554467962624645</c:v>
                </c:pt>
                <c:pt idx="7">
                  <c:v>0.70957831415191441</c:v>
                </c:pt>
                <c:pt idx="8">
                  <c:v>0.71350293152824007</c:v>
                </c:pt>
                <c:pt idx="9">
                  <c:v>0.71732289244119685</c:v>
                </c:pt>
                <c:pt idx="10">
                  <c:v>0.72104232806697044</c:v>
                </c:pt>
                <c:pt idx="11">
                  <c:v>0.72466515497519168</c:v>
                </c:pt>
                <c:pt idx="12">
                  <c:v>0.72819508888576601</c:v>
                </c:pt>
                <c:pt idx="13">
                  <c:v>0.73163565738088299</c:v>
                </c:pt>
                <c:pt idx="14">
                  <c:v>0.734990211663622</c:v>
                </c:pt>
                <c:pt idx="15">
                  <c:v>0.73826193744555257</c:v>
                </c:pt>
                <c:pt idx="16">
                  <c:v>0.74145386503767996</c:v>
                </c:pt>
                <c:pt idx="17">
                  <c:v>0.74456887871192468</c:v>
                </c:pt>
                <c:pt idx="18">
                  <c:v>0.74760972539392567</c:v>
                </c:pt>
                <c:pt idx="19">
                  <c:v>0.75057902274223232</c:v>
                </c:pt>
                <c:pt idx="20">
                  <c:v>0.75347926666383425</c:v>
                </c:pt>
                <c:pt idx="21">
                  <c:v>0.75631283831137641</c:v>
                </c:pt>
                <c:pt idx="22">
                  <c:v>0.75908201060329261</c:v>
                </c:pt>
                <c:pt idx="23">
                  <c:v>0.76178895430437932</c:v>
                </c:pt>
                <c:pt idx="24">
                  <c:v>0.76443574370099732</c:v>
                </c:pt>
                <c:pt idx="25">
                  <c:v>0.76702436190208512</c:v>
                </c:pt>
                <c:pt idx="26">
                  <c:v>0.7695567057944539</c:v>
                </c:pt>
                <c:pt idx="27">
                  <c:v>0.772034590678384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8.4153006495583757E-2</c:v>
                </c:pt>
                <c:pt idx="2">
                  <c:v>6.6799781841196004E-2</c:v>
                </c:pt>
                <c:pt idx="3">
                  <c:v>5.3365756524502532E-2</c:v>
                </c:pt>
                <c:pt idx="4">
                  <c:v>5.0042720761634164E-2</c:v>
                </c:pt>
                <c:pt idx="5">
                  <c:v>4.7282615203144175E-2</c:v>
                </c:pt>
                <c:pt idx="6">
                  <c:v>4.6086988989432934E-2</c:v>
                </c:pt>
                <c:pt idx="7">
                  <c:v>4.3426152179199602E-2</c:v>
                </c:pt>
                <c:pt idx="8">
                  <c:v>4.1411025264493438E-2</c:v>
                </c:pt>
                <c:pt idx="9">
                  <c:v>4.13722758469650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8.7042124076255292E-2</c:v>
                </c:pt>
                <c:pt idx="1">
                  <c:v>6.0753595950810084E-2</c:v>
                </c:pt>
                <c:pt idx="2">
                  <c:v>5.4942389045264266E-2</c:v>
                </c:pt>
                <c:pt idx="3">
                  <c:v>4.7775508880173852E-2</c:v>
                </c:pt>
                <c:pt idx="4">
                  <c:v>4.6224839800330764E-2</c:v>
                </c:pt>
                <c:pt idx="5">
                  <c:v>4.2702368601619065E-2</c:v>
                </c:pt>
                <c:pt idx="6">
                  <c:v>4.2337856296963496E-2</c:v>
                </c:pt>
                <c:pt idx="7">
                  <c:v>4.1113647655735087E-2</c:v>
                </c:pt>
                <c:pt idx="8">
                  <c:v>3.4980074179611798E-2</c:v>
                </c:pt>
                <c:pt idx="9">
                  <c:v>2.8062656032476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29</c:v>
                </c:pt>
                <c:pt idx="3">
                  <c:v>0.14435341684110004</c:v>
                </c:pt>
                <c:pt idx="4">
                  <c:v>4.9281428745266927E-2</c:v>
                </c:pt>
                <c:pt idx="5">
                  <c:v>2.7216288454477273E-2</c:v>
                </c:pt>
                <c:pt idx="6">
                  <c:v>2.1239216617812421E-2</c:v>
                </c:pt>
                <c:pt idx="7">
                  <c:v>1.2449851055565399E-2</c:v>
                </c:pt>
                <c:pt idx="8">
                  <c:v>8.4263888508540937E-3</c:v>
                </c:pt>
                <c:pt idx="9">
                  <c:v>7.7413567869773605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6.9574950399427113E-2</c:v>
                </c:pt>
                <c:pt idx="2">
                  <c:v>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1</c:v>
                </c:pt>
                <c:pt idx="1">
                  <c:v>0.12655853133860939</c:v>
                </c:pt>
                <c:pt idx="2">
                  <c:v>0</c:v>
                </c:pt>
                <c:pt idx="3">
                  <c:v>-7.1059434941557947E-2</c:v>
                </c:pt>
                <c:pt idx="4">
                  <c:v>-0.1584443078823724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26</c:v>
                </c:pt>
                <c:pt idx="1">
                  <c:v>0.21588253787560693</c:v>
                </c:pt>
                <c:pt idx="2">
                  <c:v>0</c:v>
                </c:pt>
                <c:pt idx="3">
                  <c:v>-0.14465389918988464</c:v>
                </c:pt>
                <c:pt idx="4">
                  <c:v>-0.328136363640176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69</c:v>
                </c:pt>
                <c:pt idx="5">
                  <c:v>101.23152437424238</c:v>
                </c:pt>
                <c:pt idx="6">
                  <c:v>100</c:v>
                </c:pt>
                <c:pt idx="7">
                  <c:v>97.230123836950625</c:v>
                </c:pt>
                <c:pt idx="8">
                  <c:v>94.768461486474692</c:v>
                </c:pt>
                <c:pt idx="9">
                  <c:v>92.947683742768234</c:v>
                </c:pt>
                <c:pt idx="10">
                  <c:v>91.308598600553438</c:v>
                </c:pt>
                <c:pt idx="11">
                  <c:v>89.811414746451746</c:v>
                </c:pt>
                <c:pt idx="12">
                  <c:v>88.873042322122359</c:v>
                </c:pt>
                <c:pt idx="13">
                  <c:v>87.986843052808325</c:v>
                </c:pt>
                <c:pt idx="14">
                  <c:v>87.146176727911723</c:v>
                </c:pt>
                <c:pt idx="15">
                  <c:v>86.345596920253072</c:v>
                </c:pt>
                <c:pt idx="16">
                  <c:v>85.524131479240026</c:v>
                </c:pt>
                <c:pt idx="17">
                  <c:v>84.723440865692538</c:v>
                </c:pt>
                <c:pt idx="18">
                  <c:v>83.9422527788620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C$2:$C$20</c:f>
              <c:numCache>
                <c:formatCode>General</c:formatCode>
                <c:ptCount val="19"/>
                <c:pt idx="0">
                  <c:v>103.05809665207354</c:v>
                </c:pt>
                <c:pt idx="1">
                  <c:v>101.093240189857</c:v>
                </c:pt>
                <c:pt idx="2">
                  <c:v>99.596735607394479</c:v>
                </c:pt>
                <c:pt idx="3">
                  <c:v>98.433309769859363</c:v>
                </c:pt>
                <c:pt idx="4">
                  <c:v>98.969267364525564</c:v>
                </c:pt>
                <c:pt idx="5">
                  <c:v>99.491457492162979</c:v>
                </c:pt>
                <c:pt idx="6">
                  <c:v>100</c:v>
                </c:pt>
                <c:pt idx="7">
                  <c:v>98.907007316620337</c:v>
                </c:pt>
                <c:pt idx="8">
                  <c:v>98.036640626101573</c:v>
                </c:pt>
                <c:pt idx="9">
                  <c:v>97.753398195951235</c:v>
                </c:pt>
                <c:pt idx="10">
                  <c:v>97.601194056378958</c:v>
                </c:pt>
                <c:pt idx="11">
                  <c:v>97.546321733278916</c:v>
                </c:pt>
                <c:pt idx="12">
                  <c:v>98.054882394798213</c:v>
                </c:pt>
                <c:pt idx="13">
                  <c:v>98.589433495817573</c:v>
                </c:pt>
                <c:pt idx="14">
                  <c:v>99.145132536629703</c:v>
                </c:pt>
                <c:pt idx="15">
                  <c:v>99.718055351950028</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D$2:$D$20</c:f>
              <c:numCache>
                <c:formatCode>General</c:formatCode>
                <c:ptCount val="19"/>
                <c:pt idx="0">
                  <c:v>94.4795507493522</c:v>
                </c:pt>
                <c:pt idx="1">
                  <c:v>94.20778515219547</c:v>
                </c:pt>
                <c:pt idx="2">
                  <c:v>94.26568772864097</c:v>
                </c:pt>
                <c:pt idx="3">
                  <c:v>94.548853789857972</c:v>
                </c:pt>
                <c:pt idx="4">
                  <c:v>96.4118158329577</c:v>
                </c:pt>
                <c:pt idx="5">
                  <c:v>98.228436557190875</c:v>
                </c:pt>
                <c:pt idx="6">
                  <c:v>1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899</c:v>
                </c:pt>
                <c:pt idx="17">
                  <c:v>112.37047355839699</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strCache>
            </c:strRef>
          </c:cat>
          <c:val>
            <c:numRef>
              <c:f>Sheet1!$E$2:$E$20</c:f>
              <c:numCache>
                <c:formatCode>General</c:formatCode>
                <c:ptCount val="19"/>
                <c:pt idx="0">
                  <c:v>0.53286818397286762</c:v>
                </c:pt>
                <c:pt idx="1">
                  <c:v>0.54168199182243604</c:v>
                </c:pt>
                <c:pt idx="2">
                  <c:v>0.55016936234424274</c:v>
                </c:pt>
                <c:pt idx="3">
                  <c:v>0.55834810121071088</c:v>
                </c:pt>
                <c:pt idx="4">
                  <c:v>0.56623474226051973</c:v>
                </c:pt>
                <c:pt idx="5">
                  <c:v>0.57384465906296689</c:v>
                </c:pt>
                <c:pt idx="6">
                  <c:v>0.58119216494119141</c:v>
                </c:pt>
                <c:pt idx="7">
                  <c:v>0.58829060282354417</c:v>
                </c:pt>
                <c:pt idx="8">
                  <c:v>0.59515242610981822</c:v>
                </c:pt>
                <c:pt idx="9">
                  <c:v>0.60178927158342799</c:v>
                </c:pt>
                <c:pt idx="10">
                  <c:v>0.60821202526756635</c:v>
                </c:pt>
                <c:pt idx="11">
                  <c:v>0.61443088200935092</c:v>
                </c:pt>
                <c:pt idx="12">
                  <c:v>0.62045539947795481</c:v>
                </c:pt>
                <c:pt idx="13">
                  <c:v>0.62629454717829403</c:v>
                </c:pt>
                <c:pt idx="14">
                  <c:v>0.63195675100892579</c:v>
                </c:pt>
                <c:pt idx="15">
                  <c:v>0.63744993382968829</c:v>
                </c:pt>
                <c:pt idx="16">
                  <c:v>0.6427815524498397</c:v>
                </c:pt>
                <c:pt idx="17">
                  <c:v>0.64795863139984222</c:v>
                </c:pt>
                <c:pt idx="18">
                  <c:v>0.65298779380841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5.49198622833275E-2</c:v>
                </c:pt>
                <c:pt idx="1">
                  <c:v>5.4755276082718893E-2</c:v>
                </c:pt>
                <c:pt idx="2">
                  <c:v>5.2692829067103347E-2</c:v>
                </c:pt>
                <c:pt idx="3">
                  <c:v>4.9436235193071977E-2</c:v>
                </c:pt>
                <c:pt idx="4">
                  <c:v>4.0199590349952262E-2</c:v>
                </c:pt>
                <c:pt idx="5">
                  <c:v>3.0130444311645729E-2</c:v>
                </c:pt>
                <c:pt idx="6">
                  <c:v>2.7764226589424259E-2</c:v>
                </c:pt>
                <c:pt idx="7">
                  <c:v>2.7755089113809674E-2</c:v>
                </c:pt>
                <c:pt idx="8">
                  <c:v>2.5951348464677591E-2</c:v>
                </c:pt>
                <c:pt idx="9">
                  <c:v>2.31250742113024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5.7231756611204367E-2</c:v>
                </c:pt>
                <c:pt idx="1">
                  <c:v>5.678064636920991E-2</c:v>
                </c:pt>
                <c:pt idx="2">
                  <c:v>4.3747619548523506E-2</c:v>
                </c:pt>
                <c:pt idx="3">
                  <c:v>3.6789176205184848E-2</c:v>
                </c:pt>
                <c:pt idx="4">
                  <c:v>3.2158947344485787E-2</c:v>
                </c:pt>
                <c:pt idx="5">
                  <c:v>2.9851530337583629E-2</c:v>
                </c:pt>
                <c:pt idx="6">
                  <c:v>2.9088700252757026E-2</c:v>
                </c:pt>
                <c:pt idx="7">
                  <c:v>2.881618490764876E-2</c:v>
                </c:pt>
                <c:pt idx="8">
                  <c:v>2.802190837200895E-2</c:v>
                </c:pt>
                <c:pt idx="9">
                  <c:v>2.78182995948072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c:v>
                </c:pt>
                <c:pt idx="12">
                  <c:v>98.905954020449357</c:v>
                </c:pt>
                <c:pt idx="13">
                  <c:v>97.860148441117502</c:v>
                </c:pt>
                <c:pt idx="14">
                  <c:v>96.858154138909327</c:v>
                </c:pt>
                <c:pt idx="15">
                  <c:v>95.896120601218911</c:v>
                </c:pt>
                <c:pt idx="16">
                  <c:v>94.361146571240013</c:v>
                </c:pt>
                <c:pt idx="17">
                  <c:v>92.894056505844176</c:v>
                </c:pt>
                <c:pt idx="18">
                  <c:v>91.489770388369578</c:v>
                </c:pt>
                <c:pt idx="19">
                  <c:v>90.143717601792318</c:v>
                </c:pt>
                <c:pt idx="20">
                  <c:v>88.851775562804676</c:v>
                </c:pt>
                <c:pt idx="21">
                  <c:v>87.610216747821781</c:v>
                </c:pt>
                <c:pt idx="22">
                  <c:v>86.41566284929371</c:v>
                </c:pt>
                <c:pt idx="23">
                  <c:v>85.265045004943048</c:v>
                </c:pt>
                <c:pt idx="24">
                  <c:v>84.1555692117626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3</c:v>
                </c:pt>
                <c:pt idx="5">
                  <c:v>99.041492211642918</c:v>
                </c:pt>
                <c:pt idx="6">
                  <c:v>99.14240346004506</c:v>
                </c:pt>
                <c:pt idx="7">
                  <c:v>99.255004943773145</c:v>
                </c:pt>
                <c:pt idx="8">
                  <c:v>99.377667937177492</c:v>
                </c:pt>
                <c:pt idx="9">
                  <c:v>99.556025021373898</c:v>
                </c:pt>
                <c:pt idx="10">
                  <c:v>99.764871602358198</c:v>
                </c:pt>
                <c:pt idx="11">
                  <c:v>1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69</c:v>
                </c:pt>
                <c:pt idx="20">
                  <c:v>99.777340555851254</c:v>
                </c:pt>
                <c:pt idx="21">
                  <c:v>99.579782404215521</c:v>
                </c:pt>
                <c:pt idx="22">
                  <c:v>99.402385034460224</c:v>
                </c:pt>
                <c:pt idx="23">
                  <c:v>99.243500937388646</c:v>
                </c:pt>
                <c:pt idx="24">
                  <c:v>99.101638832150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3.88330987812482</c:v>
                </c:pt>
                <c:pt idx="1">
                  <c:v>94.754201044613694</c:v>
                </c:pt>
                <c:pt idx="2">
                  <c:v>94.56786749920883</c:v>
                </c:pt>
                <c:pt idx="3">
                  <c:v>94.550494324429678</c:v>
                </c:pt>
                <c:pt idx="4">
                  <c:v>94.665251112633527</c:v>
                </c:pt>
                <c:pt idx="5">
                  <c:v>94.884141322353159</c:v>
                </c:pt>
                <c:pt idx="6">
                  <c:v>95.725454869744681</c:v>
                </c:pt>
                <c:pt idx="7">
                  <c:v>96.558125311673237</c:v>
                </c:pt>
                <c:pt idx="8">
                  <c:v>97.38166172854072</c:v>
                </c:pt>
                <c:pt idx="9">
                  <c:v>98.241673017934687</c:v>
                </c:pt>
                <c:pt idx="10">
                  <c:v>99.115429837217107</c:v>
                </c:pt>
                <c:pt idx="11">
                  <c:v>1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62545007553537768</c:v>
                </c:pt>
                <c:pt idx="1">
                  <c:v>0.6313953124316416</c:v>
                </c:pt>
                <c:pt idx="2">
                  <c:v>0.63715476067489707</c:v>
                </c:pt>
                <c:pt idx="3">
                  <c:v>0.64273699512605265</c:v>
                </c:pt>
                <c:pt idx="4">
                  <c:v>0.64815007095747612</c:v>
                </c:pt>
                <c:pt idx="5">
                  <c:v>0.65340156243572289</c:v>
                </c:pt>
                <c:pt idx="6">
                  <c:v>0.65849859828225621</c:v>
                </c:pt>
                <c:pt idx="7">
                  <c:v>0.66344789395932502</c:v>
                </c:pt>
                <c:pt idx="8">
                  <c:v>0.6682557811884775</c:v>
                </c:pt>
                <c:pt idx="9">
                  <c:v>0.67292823497455534</c:v>
                </c:pt>
                <c:pt idx="10">
                  <c:v>0.67747089837768637</c:v>
                </c:pt>
                <c:pt idx="11">
                  <c:v>0.68188910524922497</c:v>
                </c:pt>
                <c:pt idx="12">
                  <c:v>0.68618790112423544</c:v>
                </c:pt>
                <c:pt idx="13">
                  <c:v>0.69037206244257898</c:v>
                </c:pt>
                <c:pt idx="14">
                  <c:v>0.69444611425254499</c:v>
                </c:pt>
                <c:pt idx="15">
                  <c:v>0.69841434653497947</c:v>
                </c:pt>
                <c:pt idx="16">
                  <c:v>0.70228082927171065</c:v>
                </c:pt>
                <c:pt idx="17">
                  <c:v>0.70604942636953705</c:v>
                </c:pt>
                <c:pt idx="18">
                  <c:v>0.7097238085399179</c:v>
                </c:pt>
                <c:pt idx="19">
                  <c:v>0.71330746522461008</c:v>
                </c:pt>
                <c:pt idx="20">
                  <c:v>0.71680371564870027</c:v>
                </c:pt>
                <c:pt idx="21">
                  <c:v>0.72021571907461956</c:v>
                </c:pt>
                <c:pt idx="22">
                  <c:v>0.72354648432373125</c:v>
                </c:pt>
                <c:pt idx="23">
                  <c:v>0.72679887862580494</c:v>
                </c:pt>
                <c:pt idx="24">
                  <c:v>0.72997563585108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9.0272410010037038E-2</c:v>
                </c:pt>
                <c:pt idx="1">
                  <c:v>6.4547411789144249E-2</c:v>
                </c:pt>
                <c:pt idx="2">
                  <c:v>6.2960412952709516E-2</c:v>
                </c:pt>
                <c:pt idx="3">
                  <c:v>5.5209962417819003E-2</c:v>
                </c:pt>
                <c:pt idx="4">
                  <c:v>4.2896690606007717E-2</c:v>
                </c:pt>
                <c:pt idx="5">
                  <c:v>4.1468473240440604E-2</c:v>
                </c:pt>
                <c:pt idx="6">
                  <c:v>3.9862243532850346E-2</c:v>
                </c:pt>
                <c:pt idx="7">
                  <c:v>3.8807001131948418E-2</c:v>
                </c:pt>
                <c:pt idx="8">
                  <c:v>3.703039585500973E-2</c:v>
                </c:pt>
                <c:pt idx="9">
                  <c:v>2.9582205771433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9181012846472493E-2</c:v>
                </c:pt>
                <c:pt idx="1">
                  <c:v>6.0562738565084775E-2</c:v>
                </c:pt>
                <c:pt idx="2">
                  <c:v>5.7299888980354811E-2</c:v>
                </c:pt>
                <c:pt idx="3">
                  <c:v>4.941142943027322E-2</c:v>
                </c:pt>
                <c:pt idx="4">
                  <c:v>4.8526759266066914E-2</c:v>
                </c:pt>
                <c:pt idx="5">
                  <c:v>4.5218448763221855E-2</c:v>
                </c:pt>
                <c:pt idx="6">
                  <c:v>4.2005881794615167E-2</c:v>
                </c:pt>
                <c:pt idx="7">
                  <c:v>3.3751803579275354E-2</c:v>
                </c:pt>
                <c:pt idx="8">
                  <c:v>3.2186330493799625E-2</c:v>
                </c:pt>
                <c:pt idx="9">
                  <c:v>2.75488145009265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89</c:v>
                </c:pt>
                <c:pt idx="6">
                  <c:v>115.6890019712995</c:v>
                </c:pt>
                <c:pt idx="7">
                  <c:v>112.94828557146985</c:v>
                </c:pt>
                <c:pt idx="8">
                  <c:v>109.35005443085855</c:v>
                </c:pt>
                <c:pt idx="9">
                  <c:v>106.00738661021587</c:v>
                </c:pt>
                <c:pt idx="10">
                  <c:v>102.89785943552594</c:v>
                </c:pt>
                <c:pt idx="11">
                  <c:v>100</c:v>
                </c:pt>
                <c:pt idx="12">
                  <c:v>97.293647387117971</c:v>
                </c:pt>
                <c:pt idx="13">
                  <c:v>94.760198542303826</c:v>
                </c:pt>
                <c:pt idx="14">
                  <c:v>92.382727964671446</c:v>
                </c:pt>
                <c:pt idx="15">
                  <c:v>88.851843771698796</c:v>
                </c:pt>
                <c:pt idx="16">
                  <c:v>85.534610081011593</c:v>
                </c:pt>
                <c:pt idx="17">
                  <c:v>82.416698710967992</c:v>
                </c:pt>
                <c:pt idx="18">
                  <c:v>79.484533884805657</c:v>
                </c:pt>
                <c:pt idx="19">
                  <c:v>76.725284370270515</c:v>
                </c:pt>
                <c:pt idx="20">
                  <c:v>74.126854488247361</c:v>
                </c:pt>
                <c:pt idx="21">
                  <c:v>71.677875167084579</c:v>
                </c:pt>
                <c:pt idx="22">
                  <c:v>69.367694142805789</c:v>
                </c:pt>
                <c:pt idx="23">
                  <c:v>67.1863636359823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C$2:$C$25</c:f>
              <c:numCache>
                <c:formatCode>General</c:formatCode>
                <c:ptCount val="24"/>
                <c:pt idx="0">
                  <c:v>131.83816648904281</c:v>
                </c:pt>
                <c:pt idx="1">
                  <c:v>125.49889791718203</c:v>
                </c:pt>
                <c:pt idx="2">
                  <c:v>119.83026667492993</c:v>
                </c:pt>
                <c:pt idx="3">
                  <c:v>114.80043659937023</c:v>
                </c:pt>
                <c:pt idx="4">
                  <c:v>110.35589836246589</c:v>
                </c:pt>
                <c:pt idx="5">
                  <c:v>109.17686725424147</c:v>
                </c:pt>
                <c:pt idx="6">
                  <c:v>108.05522820903619</c:v>
                </c:pt>
                <c:pt idx="7">
                  <c:v>106.98685077266494</c:v>
                </c:pt>
                <c:pt idx="8">
                  <c:v>105.01969747661784</c:v>
                </c:pt>
                <c:pt idx="9">
                  <c:v>103.20769770182639</c:v>
                </c:pt>
                <c:pt idx="10">
                  <c:v>101.53861110419923</c:v>
                </c:pt>
                <c:pt idx="11">
                  <c:v>100</c:v>
                </c:pt>
                <c:pt idx="12">
                  <c:v>98.579654389183347</c:v>
                </c:pt>
                <c:pt idx="13">
                  <c:v>97.265926441957973</c:v>
                </c:pt>
                <c:pt idx="14">
                  <c:v>96.047953580978316</c:v>
                </c:pt>
                <c:pt idx="15">
                  <c:v>93.540800631806377</c:v>
                </c:pt>
                <c:pt idx="16">
                  <c:v>91.170085111878223</c:v>
                </c:pt>
                <c:pt idx="17">
                  <c:v>88.928536255858106</c:v>
                </c:pt>
                <c:pt idx="18">
                  <c:v>86.808984252420686</c:v>
                </c:pt>
                <c:pt idx="19">
                  <c:v>84.80439668624004</c:v>
                </c:pt>
                <c:pt idx="20">
                  <c:v>82.907913663153693</c:v>
                </c:pt>
                <c:pt idx="21">
                  <c:v>81.11288277598932</c:v>
                </c:pt>
                <c:pt idx="22">
                  <c:v>79.412892813955821</c:v>
                </c:pt>
                <c:pt idx="23">
                  <c:v>77.80180414076296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1</c:v>
                </c:pt>
                <c:pt idx="5">
                  <c:v>99.085035275811222</c:v>
                </c:pt>
                <c:pt idx="6">
                  <c:v>99.849103061985872</c:v>
                </c:pt>
                <c:pt idx="7">
                  <c:v>100.57656902143013</c:v>
                </c:pt>
                <c:pt idx="8">
                  <c:v>100.36686443838647</c:v>
                </c:pt>
                <c:pt idx="9">
                  <c:v>100.20166174809656</c:v>
                </c:pt>
                <c:pt idx="10">
                  <c:v>100.08014701054044</c:v>
                </c:pt>
                <c:pt idx="11">
                  <c:v>100</c:v>
                </c:pt>
                <c:pt idx="12">
                  <c:v>99.957896387230562</c:v>
                </c:pt>
                <c:pt idx="13">
                  <c:v>99.949946711827963</c:v>
                </c:pt>
                <c:pt idx="14">
                  <c:v>99.972039205976898</c:v>
                </c:pt>
                <c:pt idx="15">
                  <c:v>98.584172337202247</c:v>
                </c:pt>
                <c:pt idx="16">
                  <c:v>97.245832010879127</c:v>
                </c:pt>
                <c:pt idx="17">
                  <c:v>95.9578874543365</c:v>
                </c:pt>
                <c:pt idx="18">
                  <c:v>94.720535096590609</c:v>
                </c:pt>
                <c:pt idx="19">
                  <c:v>93.533392003733127</c:v>
                </c:pt>
                <c:pt idx="20">
                  <c:v>92.395586613112144</c:v>
                </c:pt>
                <c:pt idx="21">
                  <c:v>91.305848048425275</c:v>
                </c:pt>
                <c:pt idx="22">
                  <c:v>90.262592853635709</c:v>
                </c:pt>
                <c:pt idx="23">
                  <c:v>89.2640067642519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00</c:v>
                </c:pt>
                <c:pt idx="1">
                  <c:v>320.00</c:v>
                </c:pt>
                <c:pt idx="2">
                  <c:v>325.00</c:v>
                </c:pt>
                <c:pt idx="3">
                  <c:v>330.00</c:v>
                </c:pt>
                <c:pt idx="4">
                  <c:v>335.00</c:v>
                </c:pt>
                <c:pt idx="5">
                  <c:v>340.00</c:v>
                </c:pt>
                <c:pt idx="6">
                  <c:v>345.00</c:v>
                </c:pt>
                <c:pt idx="7">
                  <c:v>350.00</c:v>
                </c:pt>
                <c:pt idx="8">
                  <c:v>355.00</c:v>
                </c:pt>
                <c:pt idx="9">
                  <c:v>360.00</c:v>
                </c:pt>
                <c:pt idx="10">
                  <c:v>365.00</c:v>
                </c:pt>
                <c:pt idx="11">
                  <c:v>370.00</c:v>
                </c:pt>
                <c:pt idx="12">
                  <c:v>375.00</c:v>
                </c:pt>
                <c:pt idx="13">
                  <c:v>380.00</c:v>
                </c:pt>
                <c:pt idx="14">
                  <c:v>385.00</c:v>
                </c:pt>
                <c:pt idx="15">
                  <c:v>390.00</c:v>
                </c:pt>
                <c:pt idx="16">
                  <c:v>395.00</c:v>
                </c:pt>
                <c:pt idx="17">
                  <c:v>400.00</c:v>
                </c:pt>
                <c:pt idx="18">
                  <c:v>405.00</c:v>
                </c:pt>
                <c:pt idx="19">
                  <c:v>410.00</c:v>
                </c:pt>
                <c:pt idx="20">
                  <c:v>415.00</c:v>
                </c:pt>
                <c:pt idx="21">
                  <c:v>420.00</c:v>
                </c:pt>
                <c:pt idx="22">
                  <c:v>425.00</c:v>
                </c:pt>
                <c:pt idx="23">
                  <c:v>430.0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3</c:v>
                </c:pt>
                <c:pt idx="5">
                  <c:v>0.44879744272600997</c:v>
                </c:pt>
                <c:pt idx="6">
                  <c:v>0.45678588558505329</c:v>
                </c:pt>
                <c:pt idx="7">
                  <c:v>0.46454608721955254</c:v>
                </c:pt>
                <c:pt idx="8">
                  <c:v>0.47208769162491099</c:v>
                </c:pt>
                <c:pt idx="9">
                  <c:v>0.47941980701900944</c:v>
                </c:pt>
                <c:pt idx="10">
                  <c:v>0.48655104253929704</c:v>
                </c:pt>
                <c:pt idx="11">
                  <c:v>0.49348954196444167</c:v>
                </c:pt>
                <c:pt idx="12">
                  <c:v>0.50024301473824884</c:v>
                </c:pt>
                <c:pt idx="13">
                  <c:v>0.50681876454432473</c:v>
                </c:pt>
                <c:pt idx="14">
                  <c:v>0.51322371565413871</c:v>
                </c:pt>
                <c:pt idx="15">
                  <c:v>0.51946443724831637</c:v>
                </c:pt>
                <c:pt idx="16">
                  <c:v>0.5255471658907428</c:v>
                </c:pt>
                <c:pt idx="17">
                  <c:v>0.53147782631710849</c:v>
                </c:pt>
                <c:pt idx="18">
                  <c:v>0.53726205068356381</c:v>
                </c:pt>
                <c:pt idx="19">
                  <c:v>0.54290519640693502</c:v>
                </c:pt>
                <c:pt idx="20">
                  <c:v>0.54841236271528526</c:v>
                </c:pt>
                <c:pt idx="21">
                  <c:v>0.55378840601629375</c:v>
                </c:pt>
                <c:pt idx="22">
                  <c:v>0.55903795418080793</c:v>
                </c:pt>
                <c:pt idx="23">
                  <c:v>0.56416541982986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8.9600317859106132E-2</c:v>
                </c:pt>
                <c:pt idx="1">
                  <c:v>7.1894379645180695E-2</c:v>
                </c:pt>
                <c:pt idx="2">
                  <c:v>6.9023996212928471E-2</c:v>
                </c:pt>
                <c:pt idx="3">
                  <c:v>6.7511658570572897E-2</c:v>
                </c:pt>
                <c:pt idx="4">
                  <c:v>6.4749416409869406E-2</c:v>
                </c:pt>
                <c:pt idx="5">
                  <c:v>5.357242149808121E-2</c:v>
                </c:pt>
                <c:pt idx="6">
                  <c:v>5.1126437384715867E-2</c:v>
                </c:pt>
                <c:pt idx="7">
                  <c:v>4.530205358286022E-2</c:v>
                </c:pt>
                <c:pt idx="8">
                  <c:v>4.3978041918898717E-2</c:v>
                </c:pt>
                <c:pt idx="9">
                  <c:v>3.834180159214350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8.6145135761529712E-2</c:v>
                </c:pt>
                <c:pt idx="1">
                  <c:v>8.2873769240184345E-2</c:v>
                </c:pt>
                <c:pt idx="2">
                  <c:v>8.0353185752382553E-2</c:v>
                </c:pt>
                <c:pt idx="3">
                  <c:v>7.3530462393364679E-2</c:v>
                </c:pt>
                <c:pt idx="4">
                  <c:v>6.4111764984734962E-2</c:v>
                </c:pt>
                <c:pt idx="5">
                  <c:v>4.938702786425412E-2</c:v>
                </c:pt>
                <c:pt idx="6">
                  <c:v>4.5802767421039968E-2</c:v>
                </c:pt>
                <c:pt idx="7">
                  <c:v>3.9720165097643589E-2</c:v>
                </c:pt>
                <c:pt idx="8">
                  <c:v>3.9004440338870031E-2</c:v>
                </c:pt>
                <c:pt idx="9">
                  <c:v>3.66871257357434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1</c:v>
                </c:pt>
                <c:pt idx="1">
                  <c:v>0.19745333493151732</c:v>
                </c:pt>
                <c:pt idx="2">
                  <c:v>0.18301170484228155</c:v>
                </c:pt>
                <c:pt idx="3">
                  <c:v>0.13353133022305325</c:v>
                </c:pt>
                <c:pt idx="4">
                  <c:v>5.6215762890484806E-2</c:v>
                </c:pt>
                <c:pt idx="5">
                  <c:v>2.4561252903756901E-2</c:v>
                </c:pt>
                <c:pt idx="6">
                  <c:v>2.1325033148323531E-2</c:v>
                </c:pt>
                <c:pt idx="7">
                  <c:v>1.0492305102875748E-2</c:v>
                </c:pt>
                <c:pt idx="8">
                  <c:v>6.9992650208609598E-3</c:v>
                </c:pt>
                <c:pt idx="9">
                  <c:v>6.6921131939580002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29</c:v>
                </c:pt>
                <c:pt idx="1">
                  <c:v>0.23321087811660421</c:v>
                </c:pt>
                <c:pt idx="2">
                  <c:v>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599</c:v>
                </c:pt>
                <c:pt idx="1">
                  <c:v>0.15522165795249585</c:v>
                </c:pt>
                <c:pt idx="2">
                  <c:v>0</c:v>
                </c:pt>
                <c:pt idx="3">
                  <c:v>-8.2194806798782064E-2</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
          <c:min val="29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74.62718774400625</c:v>
                </c:pt>
                <c:pt idx="1">
                  <c:v>150.62520181802907</c:v>
                </c:pt>
                <c:pt idx="2">
                  <c:v>133.04098601084854</c:v>
                </c:pt>
                <c:pt idx="3">
                  <c:v>129.28425582168251</c:v>
                </c:pt>
                <c:pt idx="4">
                  <c:v>126.09206556389108</c:v>
                </c:pt>
                <c:pt idx="5">
                  <c:v>123.32108781166041</c:v>
                </c:pt>
                <c:pt idx="6">
                  <c:v>117.49693364877372</c:v>
                </c:pt>
                <c:pt idx="7">
                  <c:v>112.48457918785955</c:v>
                </c:pt>
                <c:pt idx="8">
                  <c:v>108.11363120496893</c:v>
                </c:pt>
                <c:pt idx="9">
                  <c:v>104.25667287067355</c:v>
                </c:pt>
                <c:pt idx="10">
                  <c:v>102.07535970895852</c:v>
                </c:pt>
                <c:pt idx="11">
                  <c:v>100</c:v>
                </c:pt>
                <c:pt idx="12">
                  <c:v>98.021864483463318</c:v>
                </c:pt>
                <c:pt idx="13">
                  <c:v>95.883152532706177</c:v>
                </c:pt>
                <c:pt idx="14">
                  <c:v>93.892296917183188</c:v>
                </c:pt>
                <c:pt idx="15">
                  <c:v>92.032451603762809</c:v>
                </c:pt>
                <c:pt idx="16">
                  <c:v>90.289262681198295</c:v>
                </c:pt>
                <c:pt idx="17">
                  <c:v>88.650439549240758</c:v>
                </c:pt>
                <c:pt idx="18">
                  <c:v>87.105406139486988</c:v>
                </c:pt>
                <c:pt idx="19">
                  <c:v>85.645016811095786</c:v>
                </c:pt>
                <c:pt idx="20">
                  <c:v>83.007934704755442</c:v>
                </c:pt>
                <c:pt idx="21">
                  <c:v>80.542134847867658</c:v>
                </c:pt>
                <c:pt idx="22">
                  <c:v>78.231672614331927</c:v>
                </c:pt>
                <c:pt idx="23">
                  <c:v>76.062418256971938</c:v>
                </c:pt>
                <c:pt idx="24">
                  <c:v>74.021820131948189</c:v>
                </c:pt>
                <c:pt idx="25">
                  <c:v>72.0987020820345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c:v>
                </c:pt>
                <c:pt idx="12">
                  <c:v>99.437841948923619</c:v>
                </c:pt>
                <c:pt idx="13">
                  <c:v>98.654151871666301</c:v>
                </c:pt>
                <c:pt idx="14">
                  <c:v>97.962896877550449</c:v>
                </c:pt>
                <c:pt idx="15">
                  <c:v>97.352666643423689</c:v>
                </c:pt>
                <c:pt idx="16">
                  <c:v>96.813749560410074</c:v>
                </c:pt>
                <c:pt idx="17">
                  <c:v>96.337846723395685</c:v>
                </c:pt>
                <c:pt idx="18">
                  <c:v>95.91783689416053</c:v>
                </c:pt>
                <c:pt idx="19">
                  <c:v>95.547583393351559</c:v>
                </c:pt>
                <c:pt idx="20">
                  <c:v>93.804090480423071</c:v>
                </c:pt>
                <c:pt idx="21">
                  <c:v>92.180583489499</c:v>
                </c:pt>
                <c:pt idx="22">
                  <c:v>90.665984148676955</c:v>
                </c:pt>
                <c:pt idx="23">
                  <c:v>89.250426184754929</c:v>
                </c:pt>
                <c:pt idx="24">
                  <c:v>87.925104459328125</c:v>
                </c:pt>
                <c:pt idx="25">
                  <c:v>86.6821447912990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4</c:v>
                </c:pt>
                <c:pt idx="10">
                  <c:v>99.726784702556699</c:v>
                </c:pt>
                <c:pt idx="11">
                  <c:v>1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4</c:v>
                </c:pt>
                <c:pt idx="22">
                  <c:v>98.031382033763222</c:v>
                </c:pt>
                <c:pt idx="23">
                  <c:v>97.063172400280635</c:v>
                </c:pt>
                <c:pt idx="24">
                  <c:v>96.162279527998322</c:v>
                </c:pt>
                <c:pt idx="25">
                  <c:v>95.322807709616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5970134810815142</c:v>
                </c:pt>
                <c:pt idx="1">
                  <c:v>0.56716403712326735</c:v>
                </c:pt>
                <c:pt idx="2">
                  <c:v>0.5743779698378797</c:v>
                </c:pt>
                <c:pt idx="3">
                  <c:v>0.58135538016840638</c:v>
                </c:pt>
                <c:pt idx="4">
                  <c:v>0.58810771274633511</c:v>
                </c:pt>
                <c:pt idx="5">
                  <c:v>0.5946456855598854</c:v>
                </c:pt>
                <c:pt idx="6">
                  <c:v>0.60097934672301234</c:v>
                </c:pt>
                <c:pt idx="7">
                  <c:v>0.60711812600419657</c:v>
                </c:pt>
                <c:pt idx="8">
                  <c:v>0.61307088167079971</c:v>
                </c:pt>
                <c:pt idx="9">
                  <c:v>0.61884594313839969</c:v>
                </c:pt>
                <c:pt idx="10">
                  <c:v>0.6244511498569526</c:v>
                </c:pt>
                <c:pt idx="11">
                  <c:v>0.62989388681554759</c:v>
                </c:pt>
                <c:pt idx="12">
                  <c:v>0.63518111700389679</c:v>
                </c:pt>
                <c:pt idx="13">
                  <c:v>0.64031941113060264</c:v>
                </c:pt>
                <c:pt idx="14">
                  <c:v>0.64531497486489975</c:v>
                </c:pt>
                <c:pt idx="15">
                  <c:v>0.65017367383935298</c:v>
                </c:pt>
                <c:pt idx="16">
                  <c:v>0.65490105662530773</c:v>
                </c:pt>
                <c:pt idx="17">
                  <c:v>0.65950237587030358</c:v>
                </c:pt>
                <c:pt idx="18">
                  <c:v>0.66398260776674722</c:v>
                </c:pt>
                <c:pt idx="19">
                  <c:v>0.66834647000354253</c:v>
                </c:pt>
                <c:pt idx="20">
                  <c:v>0.67259843833683042</c:v>
                </c:pt>
                <c:pt idx="21">
                  <c:v>0.67674276190218707</c:v>
                </c:pt>
                <c:pt idx="22">
                  <c:v>0.68078347737840983</c:v>
                </c:pt>
                <c:pt idx="23">
                  <c:v>0.68472442210213302</c:v>
                </c:pt>
                <c:pt idx="24">
                  <c:v>0.68856924622283888</c:v>
                </c:pt>
                <c:pt idx="25">
                  <c:v>0.692321423979190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9.8130454937196923E-2</c:v>
                </c:pt>
                <c:pt idx="1">
                  <c:v>5.4787747221003782E-2</c:v>
                </c:pt>
                <c:pt idx="2">
                  <c:v>5.2726121538433368E-2</c:v>
                </c:pt>
                <c:pt idx="3">
                  <c:v>5.0988288940383084E-2</c:v>
                </c:pt>
                <c:pt idx="4">
                  <c:v>4.6829890437179597E-2</c:v>
                </c:pt>
                <c:pt idx="5">
                  <c:v>4.5123795382211604E-2</c:v>
                </c:pt>
                <c:pt idx="6">
                  <c:v>4.4579561315592466E-2</c:v>
                </c:pt>
                <c:pt idx="7">
                  <c:v>4.2421174808452124E-2</c:v>
                </c:pt>
                <c:pt idx="8">
                  <c:v>3.8732386086913109E-2</c:v>
                </c:pt>
                <c:pt idx="9">
                  <c:v>3.76625394683198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19</c:v>
                </c:pt>
                <c:pt idx="1">
                  <c:v>6.2398864862006284E-2</c:v>
                </c:pt>
                <c:pt idx="2">
                  <c:v>5.6365013712033479E-2</c:v>
                </c:pt>
                <c:pt idx="3">
                  <c:v>5.6065774127455656E-2</c:v>
                </c:pt>
                <c:pt idx="4">
                  <c:v>5.3810858142325634E-2</c:v>
                </c:pt>
                <c:pt idx="5">
                  <c:v>5.0840016147087455E-2</c:v>
                </c:pt>
                <c:pt idx="6">
                  <c:v>4.4814794498537709E-2</c:v>
                </c:pt>
                <c:pt idx="7">
                  <c:v>4.265600655762062E-2</c:v>
                </c:pt>
                <c:pt idx="8">
                  <c:v>3.7016915785615154E-2</c:v>
                </c:pt>
                <c:pt idx="9">
                  <c:v>3.4785868454902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B$2:$B$27</c:f>
              <c:numCache>
                <c:formatCode>General</c:formatCode>
                <c:ptCount val="26"/>
                <c:pt idx="0">
                  <c:v>146.87283154558369</c:v>
                </c:pt>
                <c:pt idx="1">
                  <c:v>132.89328916527387</c:v>
                </c:pt>
                <c:pt idx="2">
                  <c:v>122.16624114195341</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c:v>
                </c:pt>
                <c:pt idx="12">
                  <c:v>98.474678448074656</c:v>
                </c:pt>
                <c:pt idx="13">
                  <c:v>96.982379453073463</c:v>
                </c:pt>
                <c:pt idx="14">
                  <c:v>95.575316472256915</c:v>
                </c:pt>
                <c:pt idx="15">
                  <c:v>94.244349058935768</c:v>
                </c:pt>
                <c:pt idx="16">
                  <c:v>92.981657237486814</c:v>
                </c:pt>
                <c:pt idx="17">
                  <c:v>91.780519320121854</c:v>
                </c:pt>
                <c:pt idx="18">
                  <c:v>90.635130265889558</c:v>
                </c:pt>
                <c:pt idx="19">
                  <c:v>89.540452900046461</c:v>
                </c:pt>
                <c:pt idx="20">
                  <c:v>87.654438576974229</c:v>
                </c:pt>
                <c:pt idx="21">
                  <c:v>85.862719958561783</c:v>
                </c:pt>
                <c:pt idx="22">
                  <c:v>84.157719422080675</c:v>
                </c:pt>
                <c:pt idx="23">
                  <c:v>82.532660092592479</c:v>
                </c:pt>
                <c:pt idx="24">
                  <c:v>80.981464867445396</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c:v>
                </c:pt>
                <c:pt idx="12">
                  <c:v>99.897682728765929</c:v>
                </c:pt>
                <c:pt idx="13">
                  <c:v>99.78585453817098</c:v>
                </c:pt>
                <c:pt idx="14">
                  <c:v>99.719787943088591</c:v>
                </c:pt>
                <c:pt idx="15">
                  <c:v>99.693510814026553</c:v>
                </c:pt>
                <c:pt idx="16">
                  <c:v>99.701938506148096</c:v>
                </c:pt>
                <c:pt idx="17">
                  <c:v>99.740727812620946</c:v>
                </c:pt>
                <c:pt idx="18">
                  <c:v>99.806156301607814</c:v>
                </c:pt>
                <c:pt idx="19">
                  <c:v>99.895022566334006</c:v>
                </c:pt>
                <c:pt idx="20">
                  <c:v>99.056854641960356</c:v>
                </c:pt>
                <c:pt idx="21">
                  <c:v>98.272181852242952</c:v>
                </c:pt>
                <c:pt idx="22">
                  <c:v>97.536300514233204</c:v>
                </c:pt>
                <c:pt idx="23">
                  <c:v>96.845009836158354</c:v>
                </c:pt>
                <c:pt idx="24">
                  <c:v>96.194549625411838</c:v>
                </c:pt>
                <c:pt idx="25">
                  <c:v>95.5815466193096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D$2:$D$27</c:f>
              <c:numCache>
                <c:formatCode>General</c:formatCode>
                <c:ptCount val="26"/>
                <c:pt idx="0">
                  <c:v>109.25263603446061</c:v>
                </c:pt>
                <c:pt idx="1">
                  <c:v>101.9483277198522</c:v>
                </c:pt>
                <c:pt idx="2">
                  <c:v>96.563844804005512</c:v>
                </c:pt>
                <c:pt idx="3">
                  <c:v>97.372006898143525</c:v>
                </c:pt>
                <c:pt idx="4">
                  <c:v>98.325574799874033</c:v>
                </c:pt>
                <c:pt idx="5">
                  <c:v>99.382168106518705</c:v>
                </c:pt>
                <c:pt idx="6">
                  <c:v>98.864324393560182</c:v>
                </c:pt>
                <c:pt idx="7">
                  <c:v>98.562965936239806</c:v>
                </c:pt>
                <c:pt idx="8">
                  <c:v>98.430230632114686</c:v>
                </c:pt>
                <c:pt idx="9">
                  <c:v>98.429943964397253</c:v>
                </c:pt>
                <c:pt idx="10">
                  <c:v>99.220639685698174</c:v>
                </c:pt>
                <c:pt idx="11">
                  <c:v>1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00</c:v>
                </c:pt>
                <c:pt idx="1">
                  <c:v>295.00</c:v>
                </c:pt>
                <c:pt idx="2">
                  <c:v>300.00</c:v>
                </c:pt>
                <c:pt idx="3">
                  <c:v>305.00</c:v>
                </c:pt>
                <c:pt idx="4">
                  <c:v>310.00</c:v>
                </c:pt>
                <c:pt idx="5">
                  <c:v>315.00</c:v>
                </c:pt>
                <c:pt idx="6">
                  <c:v>320.00</c:v>
                </c:pt>
                <c:pt idx="7">
                  <c:v>325.00</c:v>
                </c:pt>
                <c:pt idx="8">
                  <c:v>330.00</c:v>
                </c:pt>
                <c:pt idx="9">
                  <c:v>335.00</c:v>
                </c:pt>
                <c:pt idx="10">
                  <c:v>340.00</c:v>
                </c:pt>
                <c:pt idx="11">
                  <c:v>345.00</c:v>
                </c:pt>
                <c:pt idx="12">
                  <c:v>350.00</c:v>
                </c:pt>
                <c:pt idx="13">
                  <c:v>355.00</c:v>
                </c:pt>
                <c:pt idx="14">
                  <c:v>360.00</c:v>
                </c:pt>
                <c:pt idx="15">
                  <c:v>365.00</c:v>
                </c:pt>
                <c:pt idx="16">
                  <c:v>370.00</c:v>
                </c:pt>
                <c:pt idx="17">
                  <c:v>375.00</c:v>
                </c:pt>
                <c:pt idx="18">
                  <c:v>380.00</c:v>
                </c:pt>
                <c:pt idx="19">
                  <c:v>385.00</c:v>
                </c:pt>
                <c:pt idx="20">
                  <c:v>390.00</c:v>
                </c:pt>
                <c:pt idx="21">
                  <c:v>395.00</c:v>
                </c:pt>
                <c:pt idx="22">
                  <c:v>400.00</c:v>
                </c:pt>
                <c:pt idx="23">
                  <c:v>405.00</c:v>
                </c:pt>
                <c:pt idx="24">
                  <c:v>410.00</c:v>
                </c:pt>
                <c:pt idx="25">
                  <c:v>415.00</c:v>
                </c:pt>
              </c:strCache>
            </c:strRef>
          </c:cat>
          <c:val>
            <c:numRef>
              <c:f>Sheet1!$E$2:$E$27</c:f>
              <c:numCache>
                <c:formatCode>General</c:formatCode>
                <c:ptCount val="26"/>
                <c:pt idx="0">
                  <c:v>0.55077671028186825</c:v>
                </c:pt>
                <c:pt idx="1">
                  <c:v>0.55839066434488738</c:v>
                </c:pt>
                <c:pt idx="2">
                  <c:v>0.56575081993913945</c:v>
                </c:pt>
                <c:pt idx="3">
                  <c:v>0.57286965895653053</c:v>
                </c:pt>
                <c:pt idx="4">
                  <c:v>0.57975885800561877</c:v>
                </c:pt>
                <c:pt idx="5">
                  <c:v>0.58642935232298998</c:v>
                </c:pt>
                <c:pt idx="6">
                  <c:v>0.59289139369294308</c:v>
                </c:pt>
                <c:pt idx="7">
                  <c:v>0.59915460302074397</c:v>
                </c:pt>
                <c:pt idx="8">
                  <c:v>0.60522801812649041</c:v>
                </c:pt>
                <c:pt idx="9">
                  <c:v>0.61112013725893088</c:v>
                </c:pt>
                <c:pt idx="10">
                  <c:v>0.61683895876982897</c:v>
                </c:pt>
                <c:pt idx="11">
                  <c:v>0.62239201733838212</c:v>
                </c:pt>
                <c:pt idx="12">
                  <c:v>0.62778641709069094</c:v>
                </c:pt>
                <c:pt idx="13">
                  <c:v>0.63302886192039953</c:v>
                </c:pt>
                <c:pt idx="14">
                  <c:v>0.63812568328261621</c:v>
                </c:pt>
                <c:pt idx="15">
                  <c:v>0.64308286570340234</c:v>
                </c:pt>
                <c:pt idx="16">
                  <c:v>0.64790607022092384</c:v>
                </c:pt>
                <c:pt idx="17">
                  <c:v>0.65260065595131156</c:v>
                </c:pt>
                <c:pt idx="18">
                  <c:v>0.65717169995195213</c:v>
                </c:pt>
                <c:pt idx="19">
                  <c:v>0.66162401553699168</c:v>
                </c:pt>
                <c:pt idx="20">
                  <c:v>0.66596216918395346</c:v>
                </c:pt>
                <c:pt idx="21">
                  <c:v>0.67019049615630844</c:v>
                </c:pt>
                <c:pt idx="22">
                  <c:v>0.67431311495435464</c:v>
                </c:pt>
                <c:pt idx="23">
                  <c:v>0.67833394069565878</c:v>
                </c:pt>
                <c:pt idx="24">
                  <c:v>0.68225669751644358</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1</c:v>
                </c:pt>
                <c:pt idx="1">
                  <c:v>5.2244744709979522E-2</c:v>
                </c:pt>
                <c:pt idx="2">
                  <c:v>4.9907311780202364E-2</c:v>
                </c:pt>
                <c:pt idx="3">
                  <c:v>4.9412003777519996E-2</c:v>
                </c:pt>
                <c:pt idx="4">
                  <c:v>4.6156966025197754E-2</c:v>
                </c:pt>
                <c:pt idx="5">
                  <c:v>4.1735643492849923E-2</c:v>
                </c:pt>
                <c:pt idx="6">
                  <c:v>3.8059754806678156E-2</c:v>
                </c:pt>
                <c:pt idx="7">
                  <c:v>3.7430585692045999E-2</c:v>
                </c:pt>
                <c:pt idx="8">
                  <c:v>3.4443336105648481E-2</c:v>
                </c:pt>
                <c:pt idx="9">
                  <c:v>3.442117075294384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5.2988620052488757E-2</c:v>
                </c:pt>
                <c:pt idx="2">
                  <c:v>5.1832143729953983E-2</c:v>
                </c:pt>
                <c:pt idx="3">
                  <c:v>5.0571651131334466E-2</c:v>
                </c:pt>
                <c:pt idx="4">
                  <c:v>4.7165666633969872E-2</c:v>
                </c:pt>
                <c:pt idx="5">
                  <c:v>4.5929405084503418E-2</c:v>
                </c:pt>
                <c:pt idx="6">
                  <c:v>4.2358203490095982E-2</c:v>
                </c:pt>
                <c:pt idx="7">
                  <c:v>3.950393861444685E-2</c:v>
                </c:pt>
                <c:pt idx="8">
                  <c:v>3.7452169910185303E-2</c:v>
                </c:pt>
                <c:pt idx="9">
                  <c:v>3.410827535114790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27</c:v>
                </c:pt>
                <c:pt idx="1">
                  <c:v>0.25042910554079983</c:v>
                </c:pt>
                <c:pt idx="2">
                  <c:v>0</c:v>
                </c:pt>
                <c:pt idx="3">
                  <c:v>-0.13094053702016548</c:v>
                </c:pt>
                <c:pt idx="4">
                  <c:v>-0.2178822684788115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9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c:v>
                </c:pt>
                <c:pt idx="10">
                  <c:v>98.469828152372301</c:v>
                </c:pt>
                <c:pt idx="11">
                  <c:v>97.070319810493984</c:v>
                </c:pt>
                <c:pt idx="12">
                  <c:v>94.08896185937347</c:v>
                </c:pt>
                <c:pt idx="13">
                  <c:v>91.440967204043005</c:v>
                </c:pt>
                <c:pt idx="14">
                  <c:v>89.06279458445951</c:v>
                </c:pt>
                <c:pt idx="15">
                  <c:v>86.905946297983434</c:v>
                </c:pt>
                <c:pt idx="16">
                  <c:v>85.516720011892218</c:v>
                </c:pt>
                <c:pt idx="17">
                  <c:v>84.180565081078612</c:v>
                </c:pt>
                <c:pt idx="18">
                  <c:v>82.893876893049992</c:v>
                </c:pt>
                <c:pt idx="19">
                  <c:v>81.625411068968845</c:v>
                </c:pt>
                <c:pt idx="20">
                  <c:v>80.42703497341958</c:v>
                </c:pt>
                <c:pt idx="21">
                  <c:v>79.291285021969671</c:v>
                </c:pt>
                <c:pt idx="22">
                  <c:v>78.2117731521188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c:v>
                </c:pt>
                <c:pt idx="10">
                  <c:v>100.07568941098795</c:v>
                </c:pt>
                <c:pt idx="11">
                  <c:v>100.23650056235458</c:v>
                </c:pt>
                <c:pt idx="12">
                  <c:v>98.691236305749314</c:v>
                </c:pt>
                <c:pt idx="13">
                  <c:v>97.404131832407032</c:v>
                </c:pt>
                <c:pt idx="14">
                  <c:v>96.322703061163779</c:v>
                </c:pt>
                <c:pt idx="15">
                  <c:v>95.406855895440373</c:v>
                </c:pt>
                <c:pt idx="16">
                  <c:v>95.276123139411297</c:v>
                </c:pt>
                <c:pt idx="17">
                  <c:v>95.160083399239497</c:v>
                </c:pt>
                <c:pt idx="18">
                  <c:v>95.057196690423808</c:v>
                </c:pt>
                <c:pt idx="19">
                  <c:v>94.934324841623919</c:v>
                </c:pt>
                <c:pt idx="20">
                  <c:v>94.852732152539204</c:v>
                </c:pt>
                <c:pt idx="21">
                  <c:v>94.806919656203732</c:v>
                </c:pt>
                <c:pt idx="22">
                  <c:v>94.7922059883060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498</c:v>
                </c:pt>
                <c:pt idx="9">
                  <c:v>1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pt idx="21">
                  <c:v>365.00</c:v>
                </c:pt>
                <c:pt idx="22">
                  <c:v>370.00</c:v>
                </c:pt>
              </c:strCache>
            </c:strRef>
          </c:cat>
          <c:val>
            <c:numRef>
              <c:f>Sheet1!$E$2:$E$24</c:f>
              <c:numCache>
                <c:formatCode>General</c:formatCode>
                <c:ptCount val="23"/>
                <c:pt idx="0">
                  <c:v>0.55992787191115179</c:v>
                </c:pt>
                <c:pt idx="1">
                  <c:v>0.56823111961094142</c:v>
                </c:pt>
                <c:pt idx="2">
                  <c:v>0.57622683961814636</c:v>
                </c:pt>
                <c:pt idx="3">
                  <c:v>0.58393180617054352</c:v>
                </c:pt>
                <c:pt idx="4">
                  <c:v>0.59136159534606947</c:v>
                </c:pt>
                <c:pt idx="5">
                  <c:v>0.59853069016455951</c:v>
                </c:pt>
                <c:pt idx="6">
                  <c:v>0.60545257481689485</c:v>
                </c:pt>
                <c:pt idx="7">
                  <c:v>0.61213981931152361</c:v>
                </c:pt>
                <c:pt idx="8">
                  <c:v>0.61860415565633164</c:v>
                </c:pt>
                <c:pt idx="9">
                  <c:v>0.62485654654721134</c:v>
                </c:pt>
                <c:pt idx="10">
                  <c:v>0.63090724740935311</c:v>
                </c:pt>
                <c:pt idx="11">
                  <c:v>0.63676586252983969</c:v>
                </c:pt>
                <c:pt idx="12">
                  <c:v>0.64244139592781091</c:v>
                </c:pt>
                <c:pt idx="13">
                  <c:v>0.64794229752892163</c:v>
                </c:pt>
                <c:pt idx="14">
                  <c:v>0.65327650514211966</c:v>
                </c:pt>
                <c:pt idx="15">
                  <c:v>0.65845148267731179</c:v>
                </c:pt>
                <c:pt idx="16">
                  <c:v>0.66347425499088086</c:v>
                </c:pt>
                <c:pt idx="17">
                  <c:v>0.66835143970115785</c:v>
                </c:pt>
                <c:pt idx="18">
                  <c:v>0.67308927627685577</c:v>
                </c:pt>
                <c:pt idx="19">
                  <c:v>0.67769365266732251</c:v>
                </c:pt>
                <c:pt idx="20">
                  <c:v>0.68217012971360969</c:v>
                </c:pt>
                <c:pt idx="21">
                  <c:v>0.68652396355314926</c:v>
                </c:pt>
                <c:pt idx="22">
                  <c:v>0.690760126207836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9.5029750173142413E-2</c:v>
                </c:pt>
                <c:pt idx="1">
                  <c:v>6.5529800095144974E-2</c:v>
                </c:pt>
                <c:pt idx="2">
                  <c:v>5.8673548184604157E-2</c:v>
                </c:pt>
                <c:pt idx="3">
                  <c:v>5.7081995309740549E-2</c:v>
                </c:pt>
                <c:pt idx="4">
                  <c:v>5.0367327346764391E-2</c:v>
                </c:pt>
                <c:pt idx="5">
                  <c:v>4.3654316653704034E-2</c:v>
                </c:pt>
                <c:pt idx="6">
                  <c:v>4.1073372570012222E-2</c:v>
                </c:pt>
                <c:pt idx="7">
                  <c:v>3.9529517666078089E-2</c:v>
                </c:pt>
                <c:pt idx="8">
                  <c:v>3.7425989021988217E-2</c:v>
                </c:pt>
                <c:pt idx="9">
                  <c:v>3.290727873277605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8.8850186706720222E-2</c:v>
                </c:pt>
                <c:pt idx="5">
                  <c:v>2.2295106814588479E-2</c:v>
                </c:pt>
                <c:pt idx="6">
                  <c:v>2.1078479205629164E-2</c:v>
                </c:pt>
                <c:pt idx="7">
                  <c:v>8.9506386100784621E-3</c:v>
                </c:pt>
                <c:pt idx="8">
                  <c:v>8.8010445180686601E-3</c:v>
                </c:pt>
                <c:pt idx="9">
                  <c:v>7.3439779841587942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9.6344836772188525E-2</c:v>
                </c:pt>
                <c:pt idx="1">
                  <c:v>6.9248329100903755E-2</c:v>
                </c:pt>
                <c:pt idx="2">
                  <c:v>5.925469010164075E-2</c:v>
                </c:pt>
                <c:pt idx="3">
                  <c:v>5.4334033672761517E-2</c:v>
                </c:pt>
                <c:pt idx="4">
                  <c:v>4.4189461214751563E-2</c:v>
                </c:pt>
                <c:pt idx="5">
                  <c:v>4.0560928714756743E-2</c:v>
                </c:pt>
                <c:pt idx="6">
                  <c:v>4.0176198480338141E-2</c:v>
                </c:pt>
                <c:pt idx="7">
                  <c:v>4.006569071549862E-2</c:v>
                </c:pt>
                <c:pt idx="8">
                  <c:v>3.1764375755295116E-2</c:v>
                </c:pt>
                <c:pt idx="9">
                  <c:v>3.11422245459857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c:v>
                </c:pt>
                <c:pt idx="6">
                  <c:v>96.343851252732051</c:v>
                </c:pt>
                <c:pt idx="7">
                  <c:v>93.006350802122569</c:v>
                </c:pt>
                <c:pt idx="8">
                  <c:v>89.938563140527322</c:v>
                </c:pt>
                <c:pt idx="9">
                  <c:v>87.101549259581432</c:v>
                </c:pt>
                <c:pt idx="10">
                  <c:v>86.216371129313401</c:v>
                </c:pt>
                <c:pt idx="11">
                  <c:v>85.343994780758067</c:v>
                </c:pt>
                <c:pt idx="12">
                  <c:v>84.484164968560407</c:v>
                </c:pt>
                <c:pt idx="13">
                  <c:v>83.636632986071263</c:v>
                </c:pt>
                <c:pt idx="14">
                  <c:v>82.8011564669085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c:v>
                </c:pt>
                <c:pt idx="6">
                  <c:v>98.581924229787447</c:v>
                </c:pt>
                <c:pt idx="7">
                  <c:v>97.327449294466831</c:v>
                </c:pt>
                <c:pt idx="8">
                  <c:v>96.206435078559551</c:v>
                </c:pt>
                <c:pt idx="9">
                  <c:v>95.195120104221402</c:v>
                </c:pt>
                <c:pt idx="10">
                  <c:v>96.230111558135263</c:v>
                </c:pt>
                <c:pt idx="11">
                  <c:v>97.238521959056939</c:v>
                </c:pt>
                <c:pt idx="12">
                  <c:v>98.220949997566223</c:v>
                </c:pt>
                <c:pt idx="13">
                  <c:v>99.177978226292268</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c:v>
                </c:pt>
                <c:pt idx="6">
                  <c:v>100.3016914118349</c:v>
                </c:pt>
                <c:pt idx="7">
                  <c:v>100.64781967574315</c:v>
                </c:pt>
                <c:pt idx="8">
                  <c:v>101.02268898004174</c:v>
                </c:pt>
                <c:pt idx="9">
                  <c:v>101.41420149829349</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strCache>
            </c:strRef>
          </c:cat>
          <c:val>
            <c:numRef>
              <c:f>Sheet1!$E$2:$E$16</c:f>
              <c:numCache>
                <c:formatCode>General</c:formatCode>
                <c:ptCount val="15"/>
                <c:pt idx="0">
                  <c:v>0.50901400351658943</c:v>
                </c:pt>
                <c:pt idx="1">
                  <c:v>0.52160338804180517</c:v>
                </c:pt>
                <c:pt idx="2">
                  <c:v>0.53356330334075985</c:v>
                </c:pt>
                <c:pt idx="3">
                  <c:v>0.54493980813732668</c:v>
                </c:pt>
                <c:pt idx="4">
                  <c:v>0.55577457461024737</c:v>
                </c:pt>
                <c:pt idx="5">
                  <c:v>0.56610539845652075</c:v>
                </c:pt>
                <c:pt idx="6">
                  <c:v>0.57596663940069082</c:v>
                </c:pt>
                <c:pt idx="7">
                  <c:v>0.58538960296956422</c:v>
                </c:pt>
                <c:pt idx="8">
                  <c:v>0.59440287247022605</c:v>
                </c:pt>
                <c:pt idx="9">
                  <c:v>0.60303259858788061</c:v>
                </c:pt>
                <c:pt idx="10">
                  <c:v>0.61130275278396673</c:v>
                </c:pt>
                <c:pt idx="11">
                  <c:v>0.61923534966592642</c:v>
                </c:pt>
                <c:pt idx="12">
                  <c:v>0.62685064267260804</c:v>
                </c:pt>
                <c:pt idx="13">
                  <c:v>0.63416729673785099</c:v>
                </c:pt>
                <c:pt idx="14">
                  <c:v>0.641202541031353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6.1409411353033766E-2</c:v>
                </c:pt>
                <c:pt idx="1">
                  <c:v>6.0852540283719947E-2</c:v>
                </c:pt>
                <c:pt idx="2">
                  <c:v>5.435488144991911E-2</c:v>
                </c:pt>
                <c:pt idx="3">
                  <c:v>4.9294124324676079E-2</c:v>
                </c:pt>
                <c:pt idx="4">
                  <c:v>4.5604154061099814E-2</c:v>
                </c:pt>
                <c:pt idx="5">
                  <c:v>4.3230003848299205E-2</c:v>
                </c:pt>
                <c:pt idx="6">
                  <c:v>4.2849251484285596E-2</c:v>
                </c:pt>
                <c:pt idx="7">
                  <c:v>4.0286789756476954E-2</c:v>
                </c:pt>
                <c:pt idx="8">
                  <c:v>3.1588729670117006E-2</c:v>
                </c:pt>
                <c:pt idx="9">
                  <c:v>3.02749570971627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6.8629645155214677E-2</c:v>
                </c:pt>
                <c:pt idx="1">
                  <c:v>6.2306657734757728E-2</c:v>
                </c:pt>
                <c:pt idx="2">
                  <c:v>4.5246379636805591E-2</c:v>
                </c:pt>
                <c:pt idx="3">
                  <c:v>3.7368438109468854E-2</c:v>
                </c:pt>
                <c:pt idx="4">
                  <c:v>3.6892439447452081E-2</c:v>
                </c:pt>
                <c:pt idx="5">
                  <c:v>3.3130879340876551E-2</c:v>
                </c:pt>
                <c:pt idx="6">
                  <c:v>3.0172363554109571E-2</c:v>
                </c:pt>
                <c:pt idx="7">
                  <c:v>2.3063775450338376E-2</c:v>
                </c:pt>
                <c:pt idx="8">
                  <c:v>2.2840980254524738E-2</c:v>
                </c:pt>
                <c:pt idx="9">
                  <c:v>2.24016128663222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20.64925771651487</c:v>
                </c:pt>
                <c:pt idx="1">
                  <c:v>117.12341609723396</c:v>
                </c:pt>
                <c:pt idx="2">
                  <c:v>115.08774646025979</c:v>
                </c:pt>
                <c:pt idx="3">
                  <c:v>113.14823090400567</c:v>
                </c:pt>
                <c:pt idx="4">
                  <c:v>111.29643148062689</c:v>
                </c:pt>
                <c:pt idx="5">
                  <c:v>109.38065073707102</c:v>
                </c:pt>
                <c:pt idx="6">
                  <c:v>107.58517639046643</c:v>
                </c:pt>
                <c:pt idx="7">
                  <c:v>105.89640220931469</c:v>
                </c:pt>
                <c:pt idx="8">
                  <c:v>104.30273837622998</c:v>
                </c:pt>
                <c:pt idx="9">
                  <c:v>102.79426959100064</c:v>
                </c:pt>
                <c:pt idx="10">
                  <c:v>101.36247522486779</c:v>
                </c:pt>
                <c:pt idx="11">
                  <c:v>100</c:v>
                </c:pt>
                <c:pt idx="12">
                  <c:v>98.131582638920221</c:v>
                </c:pt>
                <c:pt idx="13">
                  <c:v>96.358577907567096</c:v>
                </c:pt>
                <c:pt idx="14">
                  <c:v>94.673073440490967</c:v>
                </c:pt>
                <c:pt idx="15">
                  <c:v>93.068006664685882</c:v>
                </c:pt>
                <c:pt idx="16">
                  <c:v>91.53705795005493</c:v>
                </c:pt>
                <c:pt idx="17">
                  <c:v>90.074558658684779</c:v>
                </c:pt>
                <c:pt idx="18">
                  <c:v>88.675411868502351</c:v>
                </c:pt>
                <c:pt idx="19">
                  <c:v>87.335023892319242</c:v>
                </c:pt>
                <c:pt idx="20">
                  <c:v>86.04924500479197</c:v>
                </c:pt>
                <c:pt idx="21">
                  <c:v>84.802261300971239</c:v>
                </c:pt>
                <c:pt idx="22">
                  <c:v>83.581670067522694</c:v>
                </c:pt>
                <c:pt idx="23">
                  <c:v>82.386658179367259</c:v>
                </c:pt>
                <c:pt idx="24">
                  <c:v>81.216448552150496</c:v>
                </c:pt>
                <c:pt idx="25">
                  <c:v>80.070297965387383</c:v>
                </c:pt>
                <c:pt idx="26">
                  <c:v>78.947495050139409</c:v>
                </c:pt>
                <c:pt idx="27">
                  <c:v>77.8473584269571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103.47222463118079</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c:v>
                </c:pt>
                <c:pt idx="12">
                  <c:v>99.40063910061059</c:v>
                </c:pt>
                <c:pt idx="13">
                  <c:v>98.850877368761346</c:v>
                </c:pt>
                <c:pt idx="14">
                  <c:v>98.346189696109917</c:v>
                </c:pt>
                <c:pt idx="15">
                  <c:v>97.882536587931085</c:v>
                </c:pt>
                <c:pt idx="16">
                  <c:v>97.456305158136843</c:v>
                </c:pt>
                <c:pt idx="17">
                  <c:v>97.064257924137692</c:v>
                </c:pt>
                <c:pt idx="18">
                  <c:v>96.703488317382536</c:v>
                </c:pt>
                <c:pt idx="19">
                  <c:v>96.371381977948559</c:v>
                </c:pt>
                <c:pt idx="20">
                  <c:v>96.065583033768405</c:v>
                </c:pt>
                <c:pt idx="21">
                  <c:v>95.770393057943664</c:v>
                </c:pt>
                <c:pt idx="22">
                  <c:v>95.473102092044869</c:v>
                </c:pt>
                <c:pt idx="23">
                  <c:v>95.173794922337649</c:v>
                </c:pt>
                <c:pt idx="24">
                  <c:v>94.872556340857415</c:v>
                </c:pt>
                <c:pt idx="25">
                  <c:v>94.569470907280206</c:v>
                </c:pt>
                <c:pt idx="26">
                  <c:v>94.264622738206626</c:v>
                </c:pt>
                <c:pt idx="27">
                  <c:v>93.9580953215333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87.014970260327829</c:v>
                </c:pt>
                <c:pt idx="1">
                  <c:v>87.440359310645391</c:v>
                </c:pt>
                <c:pt idx="2">
                  <c:v>88.837312476111663</c:v>
                </c:pt>
                <c:pt idx="3">
                  <c:v>90.207743167975948</c:v>
                </c:pt>
                <c:pt idx="4">
                  <c:v>91.552020976675621</c:v>
                </c:pt>
                <c:pt idx="5">
                  <c:v>92.748184700627462</c:v>
                </c:pt>
                <c:pt idx="6">
                  <c:v>93.952305156834541</c:v>
                </c:pt>
                <c:pt idx="7">
                  <c:v>95.161302346226748</c:v>
                </c:pt>
                <c:pt idx="8">
                  <c:v>96.372580062759937</c:v>
                </c:pt>
                <c:pt idx="9">
                  <c:v>97.583956840094515</c:v>
                </c:pt>
                <c:pt idx="10">
                  <c:v>98.793605387916401</c:v>
                </c:pt>
                <c:pt idx="11">
                  <c:v>100</c:v>
                </c:pt>
                <c:pt idx="12">
                  <c:v>100.61857067008447</c:v>
                </c:pt>
                <c:pt idx="13">
                  <c:v>101.24268603079803</c:v>
                </c:pt>
                <c:pt idx="14">
                  <c:v>101.87108637949711</c:v>
                </c:pt>
                <c:pt idx="15">
                  <c:v>102.50264584750846</c:v>
                </c:pt>
                <c:pt idx="16">
                  <c:v>103.13635969409323</c:v>
                </c:pt>
                <c:pt idx="17">
                  <c:v>103.77133251715726</c:v>
                </c:pt>
                <c:pt idx="18">
                  <c:v>104.40676740476169</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43118187243536266</c:v>
                </c:pt>
                <c:pt idx="1">
                  <c:v>0.43967169523483457</c:v>
                </c:pt>
                <c:pt idx="2">
                  <c:v>0.44791181736373431</c:v>
                </c:pt>
                <c:pt idx="3">
                  <c:v>0.45591309537295555</c:v>
                </c:pt>
                <c:pt idx="4">
                  <c:v>0.46368576543905604</c:v>
                </c:pt>
                <c:pt idx="5">
                  <c:v>0.47123948705259044</c:v>
                </c:pt>
                <c:pt idx="6">
                  <c:v>0.47858338306574899</c:v>
                </c:pt>
                <c:pt idx="7">
                  <c:v>0.48572607644840982</c:v>
                </c:pt>
                <c:pt idx="8">
                  <c:v>0.49267572406397192</c:v>
                </c:pt>
                <c:pt idx="9">
                  <c:v>0.49944004774311912</c:v>
                </c:pt>
                <c:pt idx="10">
                  <c:v>0.50602636290439373</c:v>
                </c:pt>
                <c:pt idx="11">
                  <c:v>0.51244160494459645</c:v>
                </c:pt>
                <c:pt idx="12">
                  <c:v>0.51869235359915289</c:v>
                </c:pt>
                <c:pt idx="13">
                  <c:v>0.52478485545232834</c:v>
                </c:pt>
                <c:pt idx="14">
                  <c:v>0.53072504475917426</c:v>
                </c:pt>
                <c:pt idx="15">
                  <c:v>0.53651856272511023</c:v>
                </c:pt>
                <c:pt idx="16">
                  <c:v>0.54217077537480396</c:v>
                </c:pt>
                <c:pt idx="17">
                  <c:v>0.54768679012932453</c:v>
                </c:pt>
                <c:pt idx="18">
                  <c:v>0.55307147119921352</c:v>
                </c:pt>
                <c:pt idx="19">
                  <c:v>0.55832945389098732</c:v>
                </c:pt>
                <c:pt idx="20">
                  <c:v>0.56346515791551066</c:v>
                </c:pt>
                <c:pt idx="21">
                  <c:v>0.56848279977855087</c:v>
                </c:pt>
                <c:pt idx="22">
                  <c:v>0.57338640432652199</c:v>
                </c:pt>
                <c:pt idx="23">
                  <c:v>0.57817981551386433</c:v>
                </c:pt>
                <c:pt idx="24">
                  <c:v>0.58286670645259908</c:v>
                </c:pt>
                <c:pt idx="25">
                  <c:v>0.58745058879927392</c:v>
                </c:pt>
                <c:pt idx="26">
                  <c:v>0.59193482152971655</c:v>
                </c:pt>
                <c:pt idx="27">
                  <c:v>0.596322619147676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7.1314258450191778E-2</c:v>
                </c:pt>
                <c:pt idx="2">
                  <c:v>6.6428271773166417E-2</c:v>
                </c:pt>
                <c:pt idx="3">
                  <c:v>5.1035861641843656E-2</c:v>
                </c:pt>
                <c:pt idx="4">
                  <c:v>5.0071732443927874E-2</c:v>
                </c:pt>
                <c:pt idx="5">
                  <c:v>4.9711772666455455E-2</c:v>
                </c:pt>
                <c:pt idx="6">
                  <c:v>4.4612320786036296E-2</c:v>
                </c:pt>
                <c:pt idx="7">
                  <c:v>4.4305875914003021E-2</c:v>
                </c:pt>
                <c:pt idx="8">
                  <c:v>4.1452906129177715E-2</c:v>
                </c:pt>
                <c:pt idx="9">
                  <c:v>3.97117529411572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8.5419725672622265E-2</c:v>
                </c:pt>
                <c:pt idx="1">
                  <c:v>6.5162643634496531E-2</c:v>
                </c:pt>
                <c:pt idx="2">
                  <c:v>5.1570781315954224E-2</c:v>
                </c:pt>
                <c:pt idx="3">
                  <c:v>4.4140916846387442E-2</c:v>
                </c:pt>
                <c:pt idx="4">
                  <c:v>4.2951067972387499E-2</c:v>
                </c:pt>
                <c:pt idx="5">
                  <c:v>4.2826640088599849E-2</c:v>
                </c:pt>
                <c:pt idx="6">
                  <c:v>4.0263105327416636E-2</c:v>
                </c:pt>
                <c:pt idx="7">
                  <c:v>3.7568630896837846E-2</c:v>
                </c:pt>
                <c:pt idx="8">
                  <c:v>3.6857424471987345E-2</c:v>
                </c:pt>
                <c:pt idx="9">
                  <c:v>3.10099910631426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9.8976084294972788E-2</c:v>
                </c:pt>
                <c:pt idx="2">
                  <c:v>0</c:v>
                </c:pt>
                <c:pt idx="3">
                  <c:v>-6.9046070267834284E-2</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c:v>
                </c:pt>
                <c:pt idx="11">
                  <c:v>99.033717328371097</c:v>
                </c:pt>
                <c:pt idx="12">
                  <c:v>98.109066035131292</c:v>
                </c:pt>
                <c:pt idx="13">
                  <c:v>97.222311857265879</c:v>
                </c:pt>
                <c:pt idx="14">
                  <c:v>96.370202739365752</c:v>
                </c:pt>
                <c:pt idx="15">
                  <c:v>95.549893836625472</c:v>
                </c:pt>
                <c:pt idx="16">
                  <c:v>94.296981008132136</c:v>
                </c:pt>
                <c:pt idx="17">
                  <c:v>93.09539297321659</c:v>
                </c:pt>
                <c:pt idx="18">
                  <c:v>91.941510197191207</c:v>
                </c:pt>
                <c:pt idx="19">
                  <c:v>90.832060978888052</c:v>
                </c:pt>
                <c:pt idx="20">
                  <c:v>89.764080863557496</c:v>
                </c:pt>
                <c:pt idx="21">
                  <c:v>88.734877431075333</c:v>
                </c:pt>
                <c:pt idx="22">
                  <c:v>87.741999685199758</c:v>
                </c:pt>
                <c:pt idx="23">
                  <c:v>86.783211387327455</c:v>
                </c:pt>
                <c:pt idx="24">
                  <c:v>85.8564677775093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0.48756320655372</c:v>
                </c:pt>
                <c:pt idx="1">
                  <c:v>100.71084655104549</c:v>
                </c:pt>
                <c:pt idx="2">
                  <c:v>99.885619950045239</c:v>
                </c:pt>
                <c:pt idx="3">
                  <c:v>99.267407395487623</c:v>
                </c:pt>
                <c:pt idx="4">
                  <c:v>98.811930958256454</c:v>
                </c:pt>
                <c:pt idx="5">
                  <c:v>98.485470691997875</c:v>
                </c:pt>
                <c:pt idx="6">
                  <c:v>98.733062110838816</c:v>
                </c:pt>
                <c:pt idx="7">
                  <c:v>98.989416348015396</c:v>
                </c:pt>
                <c:pt idx="8">
                  <c:v>99.25314507715359</c:v>
                </c:pt>
                <c:pt idx="9">
                  <c:v>99.615832462192699</c:v>
                </c:pt>
                <c:pt idx="10">
                  <c:v>1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91.626199841941798</c:v>
                </c:pt>
                <c:pt idx="1">
                  <c:v>92.844341632982605</c:v>
                </c:pt>
                <c:pt idx="2">
                  <c:v>93.05847913767073</c:v>
                </c:pt>
                <c:pt idx="3">
                  <c:v>93.421662134416977</c:v>
                </c:pt>
                <c:pt idx="4">
                  <c:v>93.899608993168243</c:v>
                </c:pt>
                <c:pt idx="5">
                  <c:v>94.466118750866286</c:v>
                </c:pt>
                <c:pt idx="6">
                  <c:v>95.55695706032725</c:v>
                </c:pt>
                <c:pt idx="7">
                  <c:v>96.636018452876471</c:v>
                </c:pt>
                <c:pt idx="8">
                  <c:v>97.703020170256252</c:v>
                </c:pt>
                <c:pt idx="9">
                  <c:v>98.84881540150387</c:v>
                </c:pt>
                <c:pt idx="10">
                  <c:v>1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59179507099152961</c:v>
                </c:pt>
                <c:pt idx="1">
                  <c:v>0.59827451430912437</c:v>
                </c:pt>
                <c:pt idx="2">
                  <c:v>0.6045514750230444</c:v>
                </c:pt>
                <c:pt idx="3">
                  <c:v>0.61063529848422826</c:v>
                </c:pt>
                <c:pt idx="4">
                  <c:v>0.61653476365870974</c:v>
                </c:pt>
                <c:pt idx="5">
                  <c:v>0.62225812539514669</c:v>
                </c:pt>
                <c:pt idx="6">
                  <c:v>0.62781315296286522</c:v>
                </c:pt>
                <c:pt idx="7">
                  <c:v>0.63320716523876575</c:v>
                </c:pt>
                <c:pt idx="8">
                  <c:v>0.63844706287821196</c:v>
                </c:pt>
                <c:pt idx="9">
                  <c:v>0.64353935776725113</c:v>
                </c:pt>
                <c:pt idx="10">
                  <c:v>0.64849020002048385</c:v>
                </c:pt>
                <c:pt idx="11">
                  <c:v>0.65330540275992932</c:v>
                </c:pt>
                <c:pt idx="12">
                  <c:v>0.65799046488479518</c:v>
                </c:pt>
                <c:pt idx="13">
                  <c:v>0.66255059201966437</c:v>
                </c:pt>
                <c:pt idx="14">
                  <c:v>0.66699071580887959</c:v>
                </c:pt>
                <c:pt idx="15">
                  <c:v>0.6713155117074654</c:v>
                </c:pt>
                <c:pt idx="16">
                  <c:v>0.67552941540352351</c:v>
                </c:pt>
                <c:pt idx="17">
                  <c:v>0.6796366379933525</c:v>
                </c:pt>
                <c:pt idx="18">
                  <c:v>0.68364118001843543</c:v>
                </c:pt>
                <c:pt idx="19">
                  <c:v>0.68754684446265235</c:v>
                </c:pt>
                <c:pt idx="20">
                  <c:v>0.6913572487984736</c:v>
                </c:pt>
                <c:pt idx="21">
                  <c:v>0.69507583616234747</c:v>
                </c:pt>
                <c:pt idx="22">
                  <c:v>0.69870588573184333</c:v>
                </c:pt>
                <c:pt idx="23">
                  <c:v>0.70225052237029228</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7.3697542359914492E-2</c:v>
                </c:pt>
                <c:pt idx="1">
                  <c:v>7.0665773437301044E-2</c:v>
                </c:pt>
                <c:pt idx="2">
                  <c:v>6.1789878480062531E-2</c:v>
                </c:pt>
                <c:pt idx="3">
                  <c:v>4.6846004916231594E-2</c:v>
                </c:pt>
                <c:pt idx="4">
                  <c:v>4.5732473014654641E-2</c:v>
                </c:pt>
                <c:pt idx="5">
                  <c:v>4.2788721742429855E-2</c:v>
                </c:pt>
                <c:pt idx="6">
                  <c:v>3.8477448651205122E-2</c:v>
                </c:pt>
                <c:pt idx="7">
                  <c:v>3.6480505622462585E-2</c:v>
                </c:pt>
                <c:pt idx="8">
                  <c:v>3.6407728006889281E-2</c:v>
                </c:pt>
                <c:pt idx="9">
                  <c:v>3.61777946725227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4</c:v>
                </c:pt>
                <c:pt idx="3">
                  <c:v>-2.0214777175494323</c:v>
                </c:pt>
                <c:pt idx="4">
                  <c:v>-1.6937779197406579</c:v>
                </c:pt>
                <c:pt idx="5">
                  <c:v>-0.66113498916352775</c:v>
                </c:pt>
                <c:pt idx="6">
                  <c:v>-0.99216527602380722</c:v>
                </c:pt>
                <c:pt idx="7">
                  <c:v>-1.6798557570423183</c:v>
                </c:pt>
                <c:pt idx="8">
                  <c:v>-0.99817546226277831</c:v>
                </c:pt>
                <c:pt idx="9">
                  <c:v>-2.3580397576558831</c:v>
                </c:pt>
              </c:numCache>
            </c:numRef>
          </c:xVal>
          <c:yVal>
            <c:numRef>
              <c:f>Sheet1!$B$2:$B$11</c:f>
              <c:numCache>
                <c:formatCode>General</c:formatCode>
                <c:ptCount val="10"/>
                <c:pt idx="0">
                  <c:v>-1.4654958007620229</c:v>
                </c:pt>
                <c:pt idx="1">
                  <c:v>-1.4349872907702883</c:v>
                </c:pt>
                <c:pt idx="2">
                  <c:v>-2.1760565861746852</c:v>
                </c:pt>
                <c:pt idx="3">
                  <c:v>-1.2558012946190356</c:v>
                </c:pt>
                <c:pt idx="4">
                  <c:v>-1.9865741602969371</c:v>
                </c:pt>
                <c:pt idx="5">
                  <c:v>-0.5731599110845319</c:v>
                </c:pt>
                <c:pt idx="6">
                  <c:v>-0.99226906458635877</c:v>
                </c:pt>
                <c:pt idx="7">
                  <c:v>-1.0283080530150028</c:v>
                </c:pt>
                <c:pt idx="8">
                  <c:v>-0.65216642171711248</c:v>
                </c:pt>
                <c:pt idx="9">
                  <c:v>-0.6795730753299175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3"/>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3"/>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08</c:v>
                </c:pt>
                <c:pt idx="1">
                  <c:v>0.21388377194238903</c:v>
                </c:pt>
                <c:pt idx="2">
                  <c:v>0.14924290828963879</c:v>
                </c:pt>
                <c:pt idx="3">
                  <c:v>9.0294677934418269E-2</c:v>
                </c:pt>
                <c:pt idx="4">
                  <c:v>7.7185445444257691E-2</c:v>
                </c:pt>
                <c:pt idx="5">
                  <c:v>3.2725489973964496E-2</c:v>
                </c:pt>
                <c:pt idx="6">
                  <c:v>2.1319849505308588E-2</c:v>
                </c:pt>
                <c:pt idx="7">
                  <c:v>1.3410559509189034E-2</c:v>
                </c:pt>
                <c:pt idx="8">
                  <c:v>1.2353580096403471E-2</c:v>
                </c:pt>
                <c:pt idx="9">
                  <c:v>1.180678106350698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7.355948371259674E-2</c:v>
                </c:pt>
                <c:pt idx="1">
                  <c:v>6.0393393681974668E-2</c:v>
                </c:pt>
                <c:pt idx="2">
                  <c:v>5.9649942947451601E-2</c:v>
                </c:pt>
                <c:pt idx="3">
                  <c:v>5.2314528534042871E-2</c:v>
                </c:pt>
                <c:pt idx="4">
                  <c:v>4.5761928603668206E-2</c:v>
                </c:pt>
                <c:pt idx="5">
                  <c:v>4.3988799618344593E-2</c:v>
                </c:pt>
                <c:pt idx="6">
                  <c:v>4.0751967612788549E-2</c:v>
                </c:pt>
                <c:pt idx="7">
                  <c:v>3.7698357589267692E-2</c:v>
                </c:pt>
                <c:pt idx="8">
                  <c:v>3.5905972143676738E-2</c:v>
                </c:pt>
                <c:pt idx="9">
                  <c:v>3.33443586710509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
          <c:min val="26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c:v>
                </c:pt>
                <c:pt idx="9">
                  <c:v>98.258949578170999</c:v>
                </c:pt>
                <c:pt idx="10">
                  <c:v>96.687916467153599</c:v>
                </c:pt>
                <c:pt idx="11">
                  <c:v>95.250759519644973</c:v>
                </c:pt>
                <c:pt idx="12">
                  <c:v>92.822763934548178</c:v>
                </c:pt>
                <c:pt idx="13">
                  <c:v>90.640912234735723</c:v>
                </c:pt>
                <c:pt idx="14">
                  <c:v>88.661024727749279</c:v>
                </c:pt>
                <c:pt idx="15">
                  <c:v>86.849146469988966</c:v>
                </c:pt>
                <c:pt idx="16">
                  <c:v>85.584351830461728</c:v>
                </c:pt>
                <c:pt idx="17">
                  <c:v>84.364798189936437</c:v>
                </c:pt>
                <c:pt idx="18">
                  <c:v>83.187469363455591</c:v>
                </c:pt>
                <c:pt idx="19">
                  <c:v>82.181035376115858</c:v>
                </c:pt>
                <c:pt idx="20">
                  <c:v>81.2239872718291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c:v>
                </c:pt>
                <c:pt idx="9">
                  <c:v>99.89269985352972</c:v>
                </c:pt>
                <c:pt idx="10">
                  <c:v>99.90318532665097</c:v>
                </c:pt>
                <c:pt idx="11">
                  <c:v>100.00198319426539</c:v>
                </c:pt>
                <c:pt idx="12">
                  <c:v>98.996671936977094</c:v>
                </c:pt>
                <c:pt idx="13">
                  <c:v>98.177194505390702</c:v>
                </c:pt>
                <c:pt idx="14">
                  <c:v>97.507245467482065</c:v>
                </c:pt>
                <c:pt idx="15">
                  <c:v>96.958994856674835</c:v>
                </c:pt>
                <c:pt idx="16">
                  <c:v>96.970066418648997</c:v>
                </c:pt>
                <c:pt idx="17">
                  <c:v>96.991075178831892</c:v>
                </c:pt>
                <c:pt idx="18">
                  <c:v>97.020760514283083</c:v>
                </c:pt>
                <c:pt idx="19">
                  <c:v>97.213826328164416</c:v>
                </c:pt>
                <c:pt idx="20">
                  <c:v>97.432629678982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E$2:$E$22</c:f>
              <c:numCache>
                <c:formatCode>General</c:formatCode>
                <c:ptCount val="21"/>
                <c:pt idx="0">
                  <c:v>0.57184912465164972</c:v>
                </c:pt>
                <c:pt idx="1">
                  <c:v>0.57992744305444865</c:v>
                </c:pt>
                <c:pt idx="2">
                  <c:v>0.58770656447936642</c:v>
                </c:pt>
                <c:pt idx="3">
                  <c:v>0.59520280876155951</c:v>
                </c:pt>
                <c:pt idx="4">
                  <c:v>0.60243133003367466</c:v>
                </c:pt>
                <c:pt idx="5">
                  <c:v>0.60940621898045244</c:v>
                </c:pt>
                <c:pt idx="6">
                  <c:v>0.61614059451527214</c:v>
                </c:pt>
                <c:pt idx="7">
                  <c:v>0.62264668613365726</c:v>
                </c:pt>
                <c:pt idx="8">
                  <c:v>0.62893590803142974</c:v>
                </c:pt>
                <c:pt idx="9">
                  <c:v>0.63501892593255371</c:v>
                </c:pt>
                <c:pt idx="10">
                  <c:v>0.64090571744977065</c:v>
                </c:pt>
                <c:pt idx="11">
                  <c:v>0.64660562669659982</c:v>
                </c:pt>
                <c:pt idx="12">
                  <c:v>0.65212741377946537</c:v>
                </c:pt>
                <c:pt idx="13">
                  <c:v>0.65747929972131969</c:v>
                </c:pt>
                <c:pt idx="14">
                  <c:v>0.66266900730129974</c:v>
                </c:pt>
                <c:pt idx="15">
                  <c:v>0.66770379823710113</c:v>
                </c:pt>
                <c:pt idx="16">
                  <c:v>0.67259050708655554</c:v>
                </c:pt>
                <c:pt idx="17">
                  <c:v>0.67733557220124319</c:v>
                </c:pt>
                <c:pt idx="18">
                  <c:v>0.68194506402693977</c:v>
                </c:pt>
                <c:pt idx="19">
                  <c:v>0.68642471101247582</c:v>
                </c:pt>
                <c:pt idx="20">
                  <c:v>0.690779923359524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7.3600170979022397E-2</c:v>
                </c:pt>
                <c:pt idx="1">
                  <c:v>4.9689745047384042E-2</c:v>
                </c:pt>
                <c:pt idx="2">
                  <c:v>4.7933302963907881E-2</c:v>
                </c:pt>
                <c:pt idx="3">
                  <c:v>4.7259038684151017E-2</c:v>
                </c:pt>
                <c:pt idx="4">
                  <c:v>4.5553735712182443E-2</c:v>
                </c:pt>
                <c:pt idx="5">
                  <c:v>4.398734395941345E-2</c:v>
                </c:pt>
                <c:pt idx="6">
                  <c:v>4.1479078379272706E-2</c:v>
                </c:pt>
                <c:pt idx="7">
                  <c:v>4.0960865860631357E-2</c:v>
                </c:pt>
                <c:pt idx="8">
                  <c:v>3.85486047736135E-2</c:v>
                </c:pt>
                <c:pt idx="9">
                  <c:v>3.623667421440696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7.1078999130587087E-2</c:v>
                </c:pt>
                <c:pt idx="1">
                  <c:v>5.4352890262947116E-2</c:v>
                </c:pt>
                <c:pt idx="2">
                  <c:v>5.3039465427929228E-2</c:v>
                </c:pt>
                <c:pt idx="3">
                  <c:v>5.2961078543273622E-2</c:v>
                </c:pt>
                <c:pt idx="4">
                  <c:v>4.3642842615745914E-2</c:v>
                </c:pt>
                <c:pt idx="5">
                  <c:v>3.7213400461853223E-2</c:v>
                </c:pt>
                <c:pt idx="6">
                  <c:v>3.6040931349411325E-2</c:v>
                </c:pt>
                <c:pt idx="7">
                  <c:v>3.4850771430596166E-2</c:v>
                </c:pt>
                <c:pt idx="8">
                  <c:v>3.4430763607398399E-2</c:v>
                </c:pt>
                <c:pt idx="9">
                  <c:v>2.97698971478553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2</c:v>
                </c:pt>
                <c:pt idx="1">
                  <c:v>0.15975851947848599</c:v>
                </c:pt>
                <c:pt idx="2">
                  <c:v>9.2430528831479092E-2</c:v>
                </c:pt>
                <c:pt idx="3">
                  <c:v>6.5822674009217097E-2</c:v>
                </c:pt>
                <c:pt idx="4">
                  <c:v>5.1289051276040734E-2</c:v>
                </c:pt>
                <c:pt idx="5">
                  <c:v>4.2317771853584728E-2</c:v>
                </c:pt>
                <c:pt idx="6">
                  <c:v>4.0833760627296919E-2</c:v>
                </c:pt>
                <c:pt idx="7">
                  <c:v>2.7484942762720045E-2</c:v>
                </c:pt>
                <c:pt idx="8">
                  <c:v>2.246912342141015E-2</c:v>
                </c:pt>
                <c:pt idx="9">
                  <c:v>2.03584911058139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2</c:v>
                </c:pt>
                <c:pt idx="1">
                  <c:v>0.14681679686064586</c:v>
                </c:pt>
                <c:pt idx="2">
                  <c:v>0.10440597704790751</c:v>
                </c:pt>
                <c:pt idx="3">
                  <c:v>7.6354968125440556E-2</c:v>
                </c:pt>
                <c:pt idx="4">
                  <c:v>5.0151345961323847E-2</c:v>
                </c:pt>
                <c:pt idx="5">
                  <c:v>3.909409746925438E-2</c:v>
                </c:pt>
                <c:pt idx="6">
                  <c:v>3.6747618888007393E-2</c:v>
                </c:pt>
                <c:pt idx="7">
                  <c:v>3.3529270015261091E-2</c:v>
                </c:pt>
                <c:pt idx="8">
                  <c:v>2.693637298614637E-2</c:v>
                </c:pt>
                <c:pt idx="9">
                  <c:v>2.58714800365518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9.9142520861509847E-2</c:v>
                </c:pt>
                <c:pt idx="4">
                  <c:v>7.5252243510171596E-2</c:v>
                </c:pt>
                <c:pt idx="5">
                  <c:v>4.1198488194822094E-2</c:v>
                </c:pt>
                <c:pt idx="6">
                  <c:v>3.517829313026466E-2</c:v>
                </c:pt>
                <c:pt idx="7">
                  <c:v>1.4673313957433884E-2</c:v>
                </c:pt>
                <c:pt idx="8">
                  <c:v>1.4174972550902538E-2</c:v>
                </c:pt>
                <c:pt idx="9">
                  <c:v>1.1030213083269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1</c:v>
                </c:pt>
                <c:pt idx="2">
                  <c:v>9.2816922858705686E-2</c:v>
                </c:pt>
                <c:pt idx="3">
                  <c:v>8.8921689909894894E-2</c:v>
                </c:pt>
                <c:pt idx="4">
                  <c:v>4.9455320077708531E-2</c:v>
                </c:pt>
                <c:pt idx="5">
                  <c:v>4.7170272108998698E-2</c:v>
                </c:pt>
                <c:pt idx="6">
                  <c:v>4.479547084388201E-2</c:v>
                </c:pt>
                <c:pt idx="7">
                  <c:v>1.9836488029348974E-2</c:v>
                </c:pt>
                <c:pt idx="8">
                  <c:v>1.9554955055681281E-2</c:v>
                </c:pt>
                <c:pt idx="9">
                  <c:v>9.667558269611438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38</c:v>
                </c:pt>
                <c:pt idx="1">
                  <c:v>0.13313442426668165</c:v>
                </c:pt>
                <c:pt idx="2">
                  <c:v>8.5161244396698907E-2</c:v>
                </c:pt>
                <c:pt idx="3">
                  <c:v>7.7241883549214727E-2</c:v>
                </c:pt>
                <c:pt idx="4">
                  <c:v>7.601057188943787E-2</c:v>
                </c:pt>
                <c:pt idx="5">
                  <c:v>4.7165487097271336E-2</c:v>
                </c:pt>
                <c:pt idx="6">
                  <c:v>4.1922241655936054E-2</c:v>
                </c:pt>
                <c:pt idx="7">
                  <c:v>2.5798460158035535E-2</c:v>
                </c:pt>
                <c:pt idx="8">
                  <c:v>1.873229632342327E-2</c:v>
                </c:pt>
                <c:pt idx="9">
                  <c:v>1.20842361735561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19</c:v>
                </c:pt>
                <c:pt idx="1">
                  <c:v>0.15232755908994744</c:v>
                </c:pt>
                <c:pt idx="2">
                  <c:v>9.2372465774629209E-2</c:v>
                </c:pt>
                <c:pt idx="3">
                  <c:v>4.7496020483727079E-2</c:v>
                </c:pt>
                <c:pt idx="4">
                  <c:v>4.45819063984422E-2</c:v>
                </c:pt>
                <c:pt idx="5">
                  <c:v>4.3189503475049962E-2</c:v>
                </c:pt>
                <c:pt idx="6">
                  <c:v>4.0389281456761683E-2</c:v>
                </c:pt>
                <c:pt idx="7">
                  <c:v>3.0191217463738613E-2</c:v>
                </c:pt>
                <c:pt idx="8">
                  <c:v>2.0178975434452132E-2</c:v>
                </c:pt>
                <c:pt idx="9">
                  <c:v>1.55326123046112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18</c:v>
                </c:pt>
                <c:pt idx="1">
                  <c:v>0.12542148645715442</c:v>
                </c:pt>
                <c:pt idx="2">
                  <c:v>0.10974797423796653</c:v>
                </c:pt>
                <c:pt idx="3">
                  <c:v>6.4134098540743478E-2</c:v>
                </c:pt>
                <c:pt idx="4">
                  <c:v>6.042013952835823E-2</c:v>
                </c:pt>
                <c:pt idx="5">
                  <c:v>5.1306054436378187E-2</c:v>
                </c:pt>
                <c:pt idx="6">
                  <c:v>4.0092387567938252E-2</c:v>
                </c:pt>
                <c:pt idx="7">
                  <c:v>2.9734349828676856E-2</c:v>
                </c:pt>
                <c:pt idx="8">
                  <c:v>2.8345699229777997E-2</c:v>
                </c:pt>
                <c:pt idx="9">
                  <c:v>2.69230610527258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47</c:v>
                </c:pt>
                <c:pt idx="1">
                  <c:v>0.12000679981037958</c:v>
                </c:pt>
                <c:pt idx="2">
                  <c:v>0.11337476432102254</c:v>
                </c:pt>
                <c:pt idx="3">
                  <c:v>6.5766033054110343E-2</c:v>
                </c:pt>
                <c:pt idx="4">
                  <c:v>6.5114847815140417E-2</c:v>
                </c:pt>
                <c:pt idx="5">
                  <c:v>5.420802604702453E-2</c:v>
                </c:pt>
                <c:pt idx="6">
                  <c:v>4.1625724977990948E-2</c:v>
                </c:pt>
                <c:pt idx="7">
                  <c:v>3.1471654556084271E-2</c:v>
                </c:pt>
                <c:pt idx="8">
                  <c:v>2.8616474112980402E-2</c:v>
                </c:pt>
                <c:pt idx="9">
                  <c:v>2.779100501517738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9.4677211499359842E-2</c:v>
                </c:pt>
                <c:pt idx="5">
                  <c:v>3.1086945248995919E-2</c:v>
                </c:pt>
                <c:pt idx="6">
                  <c:v>2.5338949906496631E-2</c:v>
                </c:pt>
                <c:pt idx="7">
                  <c:v>1.1174760443621069E-2</c:v>
                </c:pt>
                <c:pt idx="8">
                  <c:v>9.0305597344739457E-3</c:v>
                </c:pt>
                <c:pt idx="9">
                  <c:v>7.2887774534580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39</c:v>
                </c:pt>
                <c:pt idx="4">
                  <c:v>-2.5501190662067463</c:v>
                </c:pt>
                <c:pt idx="5">
                  <c:v>-0.92686844529069512</c:v>
                </c:pt>
                <c:pt idx="6">
                  <c:v>-1.1238465385436831</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4</c:v>
                </c:pt>
                <c:pt idx="1">
                  <c:v>-0.57924696385950625</c:v>
                </c:pt>
                <c:pt idx="2">
                  <c:v>-0.96996969519762599</c:v>
                </c:pt>
                <c:pt idx="3">
                  <c:v>-1.8495805662715863</c:v>
                </c:pt>
                <c:pt idx="4">
                  <c:v>-0.82049752513234042</c:v>
                </c:pt>
                <c:pt idx="5">
                  <c:v>-0.74639533552285553</c:v>
                </c:pt>
                <c:pt idx="6">
                  <c:v>-1.3985666078486745</c:v>
                </c:pt>
                <c:pt idx="7">
                  <c:v>-1.8229064242910398</c:v>
                </c:pt>
                <c:pt idx="8">
                  <c:v>-1.0826881318730208</c:v>
                </c:pt>
                <c:pt idx="9">
                  <c:v>-0.87353531055736244</c:v>
                </c:pt>
                <c:pt idx="10">
                  <c:v>-0.87172963207545384</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3"/>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2"/>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69</c:v>
                </c:pt>
                <c:pt idx="1">
                  <c:v>0.221292107102256</c:v>
                </c:pt>
                <c:pt idx="2">
                  <c:v>0.20648417299152219</c:v>
                </c:pt>
                <c:pt idx="3">
                  <c:v>0.11138838221841169</c:v>
                </c:pt>
                <c:pt idx="4">
                  <c:v>0.10864502403659261</c:v>
                </c:pt>
                <c:pt idx="5">
                  <c:v>1.7905928938641354E-2</c:v>
                </c:pt>
                <c:pt idx="6">
                  <c:v>1.6237115933768278E-2</c:v>
                </c:pt>
                <c:pt idx="7">
                  <c:v>5.7774653956017691E-3</c:v>
                </c:pt>
                <c:pt idx="8">
                  <c:v>5.2979020196104627E-3</c:v>
                </c:pt>
                <c:pt idx="9">
                  <c:v>3.771135789176626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79</c:v>
                </c:pt>
                <c:pt idx="1">
                  <c:v>0.16790072279518084</c:v>
                </c:pt>
                <c:pt idx="2">
                  <c:v>0.16007236733657526</c:v>
                </c:pt>
                <c:pt idx="3">
                  <c:v>0.14583866288230676</c:v>
                </c:pt>
                <c:pt idx="4">
                  <c:v>0.10832205166832599</c:v>
                </c:pt>
                <c:pt idx="5">
                  <c:v>4.6602041718493969E-2</c:v>
                </c:pt>
                <c:pt idx="6">
                  <c:v>2.1804965255889191E-2</c:v>
                </c:pt>
                <c:pt idx="7">
                  <c:v>2.15084825859112E-2</c:v>
                </c:pt>
                <c:pt idx="8">
                  <c:v>9.607134638562994E-3</c:v>
                </c:pt>
                <c:pt idx="9">
                  <c:v>6.385939350770658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2.9842489962297793E-2</c:v>
                </c:pt>
                <c:pt idx="6">
                  <c:v>2.0301908815208363E-2</c:v>
                </c:pt>
                <c:pt idx="7">
                  <c:v>1.5706671579409609E-2</c:v>
                </c:pt>
                <c:pt idx="8">
                  <c:v>9.5886445916912207E-3</c:v>
                </c:pt>
                <c:pt idx="9">
                  <c:v>8.656928215941044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9.7413762982010335E-2</c:v>
                </c:pt>
                <c:pt idx="3">
                  <c:v>9.3911562819442101E-2</c:v>
                </c:pt>
                <c:pt idx="4">
                  <c:v>8.8426065349495001E-2</c:v>
                </c:pt>
                <c:pt idx="5">
                  <c:v>4.2967159895053078E-2</c:v>
                </c:pt>
                <c:pt idx="6">
                  <c:v>3.5410771116927565E-2</c:v>
                </c:pt>
                <c:pt idx="7">
                  <c:v>3.3274035077029425E-2</c:v>
                </c:pt>
                <c:pt idx="8">
                  <c:v>2.9147111064518384E-2</c:v>
                </c:pt>
                <c:pt idx="9">
                  <c:v>1.601168633044231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1</c:v>
                </c:pt>
                <c:pt idx="1">
                  <c:v>0.16401850209163013</c:v>
                </c:pt>
                <c:pt idx="2">
                  <c:v>0.11983996754020654</c:v>
                </c:pt>
                <c:pt idx="3">
                  <c:v>8.7109242322764707E-2</c:v>
                </c:pt>
                <c:pt idx="4">
                  <c:v>8.1820168061565834E-2</c:v>
                </c:pt>
                <c:pt idx="5">
                  <c:v>3.8166215010224845E-2</c:v>
                </c:pt>
                <c:pt idx="6">
                  <c:v>2.8297243001417761E-2</c:v>
                </c:pt>
                <c:pt idx="7">
                  <c:v>2.8180120829103487E-2</c:v>
                </c:pt>
                <c:pt idx="8">
                  <c:v>2.5858146545944351E-2</c:v>
                </c:pt>
                <c:pt idx="9">
                  <c:v>1.628493114192866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9.1038811610862802E-2</c:v>
                </c:pt>
                <c:pt idx="2">
                  <c:v>8.3777563819860942E-2</c:v>
                </c:pt>
                <c:pt idx="3">
                  <c:v>7.9967455943247528E-2</c:v>
                </c:pt>
                <c:pt idx="4">
                  <c:v>6.4040933064505631E-2</c:v>
                </c:pt>
                <c:pt idx="5">
                  <c:v>4.4064925912357909E-2</c:v>
                </c:pt>
                <c:pt idx="6">
                  <c:v>4.312111291562773E-2</c:v>
                </c:pt>
                <c:pt idx="7">
                  <c:v>3.8527985065031758E-2</c:v>
                </c:pt>
                <c:pt idx="8">
                  <c:v>2.8497506315273577E-2</c:v>
                </c:pt>
                <c:pt idx="9">
                  <c:v>2.54623900285481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79</c:v>
                </c:pt>
                <c:pt idx="1">
                  <c:v>9.6379427989555053E-2</c:v>
                </c:pt>
                <c:pt idx="2">
                  <c:v>8.6705095015938788E-2</c:v>
                </c:pt>
                <c:pt idx="3">
                  <c:v>8.1445895265938803E-2</c:v>
                </c:pt>
                <c:pt idx="4">
                  <c:v>5.6277188939837408E-2</c:v>
                </c:pt>
                <c:pt idx="5">
                  <c:v>5.6069153693308706E-2</c:v>
                </c:pt>
                <c:pt idx="6">
                  <c:v>5.3201576836368308E-2</c:v>
                </c:pt>
                <c:pt idx="7">
                  <c:v>2.9896972995207334E-2</c:v>
                </c:pt>
                <c:pt idx="8">
                  <c:v>2.5687700396917777E-2</c:v>
                </c:pt>
                <c:pt idx="9">
                  <c:v>2.126092916132396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9.918726314470179E-2</c:v>
                </c:pt>
                <c:pt idx="3">
                  <c:v>5.6730458440915732E-2</c:v>
                </c:pt>
                <c:pt idx="4">
                  <c:v>5.1854024725910879E-2</c:v>
                </c:pt>
                <c:pt idx="5">
                  <c:v>3.3675718676092696E-2</c:v>
                </c:pt>
                <c:pt idx="6">
                  <c:v>2.8540716423748252E-2</c:v>
                </c:pt>
                <c:pt idx="7">
                  <c:v>2.7158769754834149E-2</c:v>
                </c:pt>
                <c:pt idx="8">
                  <c:v>2.1075550874876989E-2</c:v>
                </c:pt>
                <c:pt idx="9">
                  <c:v>2.017930054008721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1</c:v>
                </c:pt>
                <c:pt idx="1">
                  <c:v>0.15190543027728912</c:v>
                </c:pt>
                <c:pt idx="2">
                  <c:v>0.11590669449758037</c:v>
                </c:pt>
                <c:pt idx="3">
                  <c:v>5.7342018092577371E-2</c:v>
                </c:pt>
                <c:pt idx="4">
                  <c:v>5.6780527959565619E-2</c:v>
                </c:pt>
                <c:pt idx="5">
                  <c:v>4.2535750090516793E-2</c:v>
                </c:pt>
                <c:pt idx="6">
                  <c:v>2.721684937746555E-2</c:v>
                </c:pt>
                <c:pt idx="7">
                  <c:v>1.8734323676800179E-2</c:v>
                </c:pt>
                <c:pt idx="8">
                  <c:v>1.6810509592462927E-2</c:v>
                </c:pt>
                <c:pt idx="9">
                  <c:v>1.65283098054312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69</c:v>
                </c:pt>
                <c:pt idx="1">
                  <c:v>0.27291828729806827</c:v>
                </c:pt>
                <c:pt idx="2">
                  <c:v>0</c:v>
                </c:pt>
                <c:pt idx="3">
                  <c:v>-0.23503277551229251</c:v>
                </c:pt>
                <c:pt idx="4">
                  <c:v>-0.2758519069659591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7.2006364322012545E-2</c:v>
                </c:pt>
                <c:pt idx="2">
                  <c:v>0</c:v>
                </c:pt>
                <c:pt idx="3">
                  <c:v>-0.17885854584987304</c:v>
                </c:pt>
                <c:pt idx="4">
                  <c:v>-0.2550964346090003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18</c:v>
                </c:pt>
                <c:pt idx="2">
                  <c:v>0</c:v>
                </c:pt>
                <c:pt idx="3">
                  <c:v>-0.12938159167125093</c:v>
                </c:pt>
                <c:pt idx="4">
                  <c:v>-0.3535208371904612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5</c:v>
                </c:pt>
                <c:pt idx="1">
                  <c:v>0.38321112198719531</c:v>
                </c:pt>
                <c:pt idx="2">
                  <c:v>0</c:v>
                </c:pt>
                <c:pt idx="3">
                  <c:v>-0.20124164710353476</c:v>
                </c:pt>
                <c:pt idx="4">
                  <c:v>-0.4306237770755506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75"/>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04</c:v>
                </c:pt>
                <c:pt idx="2">
                  <c:v>-3.4086581209416575</c:v>
                </c:pt>
                <c:pt idx="3">
                  <c:v>-0.91832950229865173</c:v>
                </c:pt>
                <c:pt idx="4">
                  <c:v>-1.1288296022868922</c:v>
                </c:pt>
              </c:numCache>
            </c:numRef>
          </c:xVal>
          <c:yVal>
            <c:numRef>
              <c:f>Sheet1!$B$2:$B$6</c:f>
              <c:numCache>
                <c:formatCode>General</c:formatCode>
                <c:ptCount val="5"/>
                <c:pt idx="0">
                  <c:v>-1.349012417507965</c:v>
                </c:pt>
                <c:pt idx="1">
                  <c:v>-1.8746919745653341</c:v>
                </c:pt>
                <c:pt idx="2">
                  <c:v>-1.4583517568209319</c:v>
                </c:pt>
                <c:pt idx="3">
                  <c:v>-0.71061543143240635</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4"/>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2"/>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B$2:$B$19</c:f>
              <c:numCache>
                <c:formatCode>General</c:formatCode>
                <c:ptCount val="18"/>
                <c:pt idx="0">
                  <c:v>132.83542358867899</c:v>
                </c:pt>
                <c:pt idx="1">
                  <c:v>130.94231443807277</c:v>
                </c:pt>
                <c:pt idx="2">
                  <c:v>129.09497622571462</c:v>
                </c:pt>
                <c:pt idx="3">
                  <c:v>127.29182872980687</c:v>
                </c:pt>
                <c:pt idx="4">
                  <c:v>116.66384312506545</c:v>
                </c:pt>
                <c:pt idx="5">
                  <c:v>107.655486934891</c:v>
                </c:pt>
                <c:pt idx="6">
                  <c:v>100</c:v>
                </c:pt>
                <c:pt idx="7">
                  <c:v>93.46385798005727</c:v>
                </c:pt>
                <c:pt idx="8">
                  <c:v>87.847857170339736</c:v>
                </c:pt>
                <c:pt idx="9">
                  <c:v>84.601740742080665</c:v>
                </c:pt>
                <c:pt idx="10">
                  <c:v>81.655129956503885</c:v>
                </c:pt>
                <c:pt idx="11">
                  <c:v>78.965327858888372</c:v>
                </c:pt>
                <c:pt idx="12">
                  <c:v>76.496722448770768</c:v>
                </c:pt>
                <c:pt idx="13">
                  <c:v>75.653153244708008</c:v>
                </c:pt>
                <c:pt idx="14">
                  <c:v>74.82347601868436</c:v>
                </c:pt>
                <c:pt idx="15">
                  <c:v>74.007388661167639</c:v>
                </c:pt>
                <c:pt idx="16">
                  <c:v>73.204595918584943</c:v>
                </c:pt>
                <c:pt idx="17">
                  <c:v>72.4148093034040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c:v>
                </c:pt>
                <c:pt idx="7">
                  <c:v>95.728570365964956</c:v>
                </c:pt>
                <c:pt idx="8">
                  <c:v>92.105582863380292</c:v>
                </c:pt>
                <c:pt idx="9">
                  <c:v>90.749739283590486</c:v>
                </c:pt>
                <c:pt idx="10">
                  <c:v>89.565484853028181</c:v>
                </c:pt>
                <c:pt idx="11">
                  <c:v>88.526641123335352</c:v>
                </c:pt>
                <c:pt idx="12">
                  <c:v>87.611027213014111</c:v>
                </c:pt>
                <c:pt idx="13">
                  <c:v>88.4777105101535</c:v>
                </c:pt>
                <c:pt idx="14">
                  <c:v>89.319889611350519</c:v>
                </c:pt>
                <c:pt idx="15">
                  <c:v>90.138221367688914</c:v>
                </c:pt>
                <c:pt idx="16">
                  <c:v>90.933341014547381</c:v>
                </c:pt>
                <c:pt idx="17">
                  <c:v>91.705862936567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c:v>
                </c:pt>
                <c:pt idx="7">
                  <c:v>97.136513097337712</c:v>
                </c:pt>
                <c:pt idx="8">
                  <c:v>94.751806764365767</c:v>
                </c:pt>
                <c:pt idx="9">
                  <c:v>94.574997446298624</c:v>
                </c:pt>
                <c:pt idx="10">
                  <c:v>94.489658184556873</c:v>
                </c:pt>
                <c:pt idx="11">
                  <c:v>94.480010310288307</c:v>
                </c:pt>
                <c:pt idx="12">
                  <c:v>94.532319431077894</c:v>
                </c:pt>
                <c:pt idx="13">
                  <c:v>96.462647148041043</c:v>
                </c:pt>
                <c:pt idx="14">
                  <c:v>98.344937942617193</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E$2:$E$19</c:f>
              <c:numCache>
                <c:formatCode>General</c:formatCode>
                <c:ptCount val="18"/>
                <c:pt idx="0">
                  <c:v>0.55567371751840622</c:v>
                </c:pt>
                <c:pt idx="1">
                  <c:v>0.56801611425400589</c:v>
                </c:pt>
                <c:pt idx="2">
                  <c:v>0.57969135440930297</c:v>
                </c:pt>
                <c:pt idx="3">
                  <c:v>0.59075210824063729</c:v>
                </c:pt>
                <c:pt idx="4">
                  <c:v>0.60124564392677471</c:v>
                </c:pt>
                <c:pt idx="5">
                  <c:v>0.61121450282860534</c:v>
                </c:pt>
                <c:pt idx="6">
                  <c:v>0.62069707593034651</c:v>
                </c:pt>
                <c:pt idx="7">
                  <c:v>0.62972809793200524</c:v>
                </c:pt>
                <c:pt idx="8">
                  <c:v>0.63833907239870258</c:v>
                </c:pt>
                <c:pt idx="9">
                  <c:v>0.6465586389350958</c:v>
                </c:pt>
                <c:pt idx="10">
                  <c:v>0.6544128914032048</c:v>
                </c:pt>
                <c:pt idx="11">
                  <c:v>0.66192565463357</c:v>
                </c:pt>
                <c:pt idx="12">
                  <c:v>0.66911872581157905</c:v>
                </c:pt>
                <c:pt idx="13">
                  <c:v>0.67601208569050442</c:v>
                </c:pt>
                <c:pt idx="14">
                  <c:v>0.6826240839417187</c:v>
                </c:pt>
                <c:pt idx="15">
                  <c:v>0.68897160226288434</c:v>
                </c:pt>
                <c:pt idx="16">
                  <c:v>0.69507019829694527</c:v>
                </c:pt>
                <c:pt idx="17">
                  <c:v>0.700934232945080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7.3216372976632541E-2</c:v>
                </c:pt>
                <c:pt idx="1">
                  <c:v>5.8405947993093586E-2</c:v>
                </c:pt>
                <c:pt idx="2">
                  <c:v>5.7428675433102212E-2</c:v>
                </c:pt>
                <c:pt idx="3">
                  <c:v>5.6911441820269248E-2</c:v>
                </c:pt>
                <c:pt idx="4">
                  <c:v>5.2764403654343116E-2</c:v>
                </c:pt>
                <c:pt idx="5">
                  <c:v>3.6873576767789004E-2</c:v>
                </c:pt>
                <c:pt idx="6">
                  <c:v>3.6573571718160044E-2</c:v>
                </c:pt>
                <c:pt idx="7">
                  <c:v>3.6536983019542016E-2</c:v>
                </c:pt>
                <c:pt idx="8">
                  <c:v>3.5738731052237072E-2</c:v>
                </c:pt>
                <c:pt idx="9">
                  <c:v>3.336788122398600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8.2008618058319938E-2</c:v>
                </c:pt>
                <c:pt idx="1">
                  <c:v>5.839054803224733E-2</c:v>
                </c:pt>
                <c:pt idx="2">
                  <c:v>4.8468983826226615E-2</c:v>
                </c:pt>
                <c:pt idx="3">
                  <c:v>4.8465418508674023E-2</c:v>
                </c:pt>
                <c:pt idx="4">
                  <c:v>4.3026484267955606E-2</c:v>
                </c:pt>
                <c:pt idx="5">
                  <c:v>3.762274448088173E-2</c:v>
                </c:pt>
                <c:pt idx="6">
                  <c:v>3.7266316772098095E-2</c:v>
                </c:pt>
                <c:pt idx="7">
                  <c:v>3.2160967478221648E-2</c:v>
                </c:pt>
                <c:pt idx="8">
                  <c:v>3.1688687184809092E-2</c:v>
                </c:pt>
                <c:pt idx="9">
                  <c:v>2.873300305216887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c:v>
                </c:pt>
                <c:pt idx="12">
                  <c:v>97.54189562696601</c:v>
                </c:pt>
                <c:pt idx="13">
                  <c:v>95.227106752545879</c:v>
                </c:pt>
                <c:pt idx="14">
                  <c:v>93.042712107498943</c:v>
                </c:pt>
                <c:pt idx="15">
                  <c:v>90.97726110693975</c:v>
                </c:pt>
                <c:pt idx="16">
                  <c:v>89.020580171229909</c:v>
                </c:pt>
                <c:pt idx="17">
                  <c:v>87.163607137376815</c:v>
                </c:pt>
                <c:pt idx="18">
                  <c:v>85.398249467132274</c:v>
                </c:pt>
                <c:pt idx="19">
                  <c:v>83.717262606183496</c:v>
                </c:pt>
                <c:pt idx="20">
                  <c:v>82.1141454150127</c:v>
                </c:pt>
                <c:pt idx="21">
                  <c:v>80.952447557230627</c:v>
                </c:pt>
                <c:pt idx="22">
                  <c:v>79.816296036686623</c:v>
                </c:pt>
                <c:pt idx="23">
                  <c:v>78.704840425735583</c:v>
                </c:pt>
                <c:pt idx="24">
                  <c:v>77.617271524289691</c:v>
                </c:pt>
                <c:pt idx="25">
                  <c:v>76.552818673460621</c:v>
                </c:pt>
                <c:pt idx="26">
                  <c:v>75.510747280861551</c:v>
                </c:pt>
                <c:pt idx="27">
                  <c:v>74.4903565390999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98.734159265507017</c:v>
                </c:pt>
                <c:pt idx="1">
                  <c:v>98.112988762841042</c:v>
                </c:pt>
                <c:pt idx="2">
                  <c:v>97.868658658378109</c:v>
                </c:pt>
                <c:pt idx="3">
                  <c:v>97.664646358050163</c:v>
                </c:pt>
                <c:pt idx="4">
                  <c:v>97.495755237270728</c:v>
                </c:pt>
                <c:pt idx="5">
                  <c:v>97.794133190025477</c:v>
                </c:pt>
                <c:pt idx="6">
                  <c:v>98.117091053642497</c:v>
                </c:pt>
                <c:pt idx="7">
                  <c:v>98.461315022299502</c:v>
                </c:pt>
                <c:pt idx="8">
                  <c:v>98.823976366793715</c:v>
                </c:pt>
                <c:pt idx="9">
                  <c:v>99.202651942208234</c:v>
                </c:pt>
                <c:pt idx="10">
                  <c:v>99.595258757867427</c:v>
                </c:pt>
                <c:pt idx="11">
                  <c:v>100</c:v>
                </c:pt>
                <c:pt idx="12">
                  <c:v>98.798930460920204</c:v>
                </c:pt>
                <c:pt idx="13">
                  <c:v>97.681702347246883</c:v>
                </c:pt>
                <c:pt idx="14">
                  <c:v>96.640406297203285</c:v>
                </c:pt>
                <c:pt idx="15">
                  <c:v>95.668018022545525</c:v>
                </c:pt>
                <c:pt idx="16">
                  <c:v>94.758286100274333</c:v>
                </c:pt>
                <c:pt idx="17">
                  <c:v>93.905635207129805</c:v>
                </c:pt>
                <c:pt idx="18">
                  <c:v>93.10508261760593</c:v>
                </c:pt>
                <c:pt idx="19">
                  <c:v>92.352166065549852</c:v>
                </c:pt>
                <c:pt idx="20">
                  <c:v>91.642881330833674</c:v>
                </c:pt>
                <c:pt idx="21">
                  <c:v>91.391351893304432</c:v>
                </c:pt>
                <c:pt idx="22">
                  <c:v>91.139007542050962</c:v>
                </c:pt>
                <c:pt idx="23">
                  <c:v>90.885855791053373</c:v>
                </c:pt>
                <c:pt idx="24">
                  <c:v>90.631908347654218</c:v>
                </c:pt>
                <c:pt idx="25">
                  <c:v>90.377180604243307</c:v>
                </c:pt>
                <c:pt idx="26">
                  <c:v>90.121691174423745</c:v>
                </c:pt>
                <c:pt idx="27">
                  <c:v>89.8654614704986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3.327752829039113</c:v>
                </c:pt>
                <c:pt idx="1">
                  <c:v>93.301549303438136</c:v>
                </c:pt>
                <c:pt idx="2">
                  <c:v>93.613532839081188</c:v>
                </c:pt>
                <c:pt idx="3">
                  <c:v>93.945924271494363</c:v>
                </c:pt>
                <c:pt idx="4">
                  <c:v>94.295121301813793</c:v>
                </c:pt>
                <c:pt idx="5">
                  <c:v>95.080741997430678</c:v>
                </c:pt>
                <c:pt idx="6">
                  <c:v>95.879682850621677</c:v>
                </c:pt>
                <c:pt idx="7">
                  <c:v>96.689485018108357</c:v>
                </c:pt>
                <c:pt idx="8">
                  <c:v>97.508063204048341</c:v>
                </c:pt>
                <c:pt idx="9">
                  <c:v>98.33364492308587</c:v>
                </c:pt>
                <c:pt idx="10">
                  <c:v>99.164720222278447</c:v>
                </c:pt>
                <c:pt idx="11">
                  <c:v>100</c:v>
                </c:pt>
                <c:pt idx="12">
                  <c:v>99.219428857785942</c:v>
                </c:pt>
                <c:pt idx="13">
                  <c:v>98.502553370133995</c:v>
                </c:pt>
                <c:pt idx="14">
                  <c:v>97.843179858593047</c:v>
                </c:pt>
                <c:pt idx="15">
                  <c:v>97.235797616811965</c:v>
                </c:pt>
                <c:pt idx="16">
                  <c:v>96.675495041616529</c:v>
                </c:pt>
                <c:pt idx="17">
                  <c:v>96.157886767759365</c:v>
                </c:pt>
                <c:pt idx="18">
                  <c:v>95.679050377336694</c:v>
                </c:pt>
                <c:pt idx="19">
                  <c:v>95.235471401488581</c:v>
                </c:pt>
                <c:pt idx="20">
                  <c:v>94.823995484236491</c:v>
                </c:pt>
                <c:pt idx="21">
                  <c:v>94.874713473900343</c:v>
                </c:pt>
                <c:pt idx="22">
                  <c:v>94.915852684839351</c:v>
                </c:pt>
                <c:pt idx="23">
                  <c:v>94.947705224527368</c:v>
                </c:pt>
                <c:pt idx="24">
                  <c:v>94.970555142559931</c:v>
                </c:pt>
                <c:pt idx="25">
                  <c:v>94.984678642668484</c:v>
                </c:pt>
                <c:pt idx="26">
                  <c:v>94.990344283794371</c:v>
                </c:pt>
                <c:pt idx="27">
                  <c:v>94.9878131721527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71433377037211498</c:v>
                </c:pt>
                <c:pt idx="1">
                  <c:v>0.71859744544118775</c:v>
                </c:pt>
                <c:pt idx="2">
                  <c:v>0.72273571830234684</c:v>
                </c:pt>
                <c:pt idx="3">
                  <c:v>0.72675404122550125</c:v>
                </c:pt>
                <c:pt idx="4">
                  <c:v>0.73065755492227991</c:v>
                </c:pt>
                <c:pt idx="5">
                  <c:v>0.73445111048675471</c:v>
                </c:pt>
                <c:pt idx="6">
                  <c:v>0.73813928950777208</c:v>
                </c:pt>
                <c:pt idx="7">
                  <c:v>0.74172642252821352</c:v>
                </c:pt>
                <c:pt idx="8">
                  <c:v>0.7452166060075619</c:v>
                </c:pt>
                <c:pt idx="9">
                  <c:v>0.74861371792746101</c:v>
                </c:pt>
                <c:pt idx="10">
                  <c:v>0.75192143216525764</c:v>
                </c:pt>
                <c:pt idx="11">
                  <c:v>0.75514323174752718</c:v>
                </c:pt>
                <c:pt idx="12">
                  <c:v>0.75828242108409716</c:v>
                </c:pt>
                <c:pt idx="13">
                  <c:v>0.76134213727290623</c:v>
                </c:pt>
                <c:pt idx="14">
                  <c:v>0.76432536055699474</c:v>
                </c:pt>
                <c:pt idx="15">
                  <c:v>0.76723492400690851</c:v>
                </c:pt>
                <c:pt idx="16">
                  <c:v>0.77007352249462913</c:v>
                </c:pt>
                <c:pt idx="17">
                  <c:v>0.77284372101879006</c:v>
                </c:pt>
                <c:pt idx="18">
                  <c:v>0.77554796243523316</c:v>
                </c:pt>
                <c:pt idx="19">
                  <c:v>0.77818857464187741</c:v>
                </c:pt>
                <c:pt idx="20">
                  <c:v>0.78076777726232072</c:v>
                </c:pt>
                <c:pt idx="21">
                  <c:v>0.783287687868501</c:v>
                </c:pt>
                <c:pt idx="22">
                  <c:v>0.78575032777908616</c:v>
                </c:pt>
                <c:pt idx="23">
                  <c:v>0.78815762746696161</c:v>
                </c:pt>
                <c:pt idx="24">
                  <c:v>0.79051143160621751</c:v>
                </c:pt>
                <c:pt idx="25">
                  <c:v>0.79281350378636906</c:v>
                </c:pt>
                <c:pt idx="26">
                  <c:v>0.79506553091912591</c:v>
                </c:pt>
                <c:pt idx="27">
                  <c:v>0.79726912736085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8.7145120105106624E-2</c:v>
                </c:pt>
                <c:pt idx="1">
                  <c:v>6.890100005579361E-2</c:v>
                </c:pt>
                <c:pt idx="2">
                  <c:v>5.0832625317474296E-2</c:v>
                </c:pt>
                <c:pt idx="3">
                  <c:v>4.9697988530796863E-2</c:v>
                </c:pt>
                <c:pt idx="4">
                  <c:v>4.5591696076043159E-2</c:v>
                </c:pt>
                <c:pt idx="5">
                  <c:v>4.2078687933204233E-2</c:v>
                </c:pt>
                <c:pt idx="6">
                  <c:v>4.1889627766186606E-2</c:v>
                </c:pt>
                <c:pt idx="7">
                  <c:v>3.6743806568491966E-2</c:v>
                </c:pt>
                <c:pt idx="8">
                  <c:v>3.4277049026956947E-2</c:v>
                </c:pt>
                <c:pt idx="9">
                  <c:v>3.42185767442941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6.7710086344853829E-2</c:v>
                </c:pt>
                <c:pt idx="1">
                  <c:v>6.6275125159735632E-2</c:v>
                </c:pt>
                <c:pt idx="2">
                  <c:v>4.7643092900261259E-2</c:v>
                </c:pt>
                <c:pt idx="3">
                  <c:v>4.1750240419136608E-2</c:v>
                </c:pt>
                <c:pt idx="4">
                  <c:v>3.9161405974009487E-2</c:v>
                </c:pt>
                <c:pt idx="5">
                  <c:v>3.5036968557311726E-2</c:v>
                </c:pt>
                <c:pt idx="6">
                  <c:v>3.4150694705498037E-2</c:v>
                </c:pt>
                <c:pt idx="7">
                  <c:v>2.4991211572638002E-2</c:v>
                </c:pt>
                <c:pt idx="8">
                  <c:v>2.3820877523105164E-2</c:v>
                </c:pt>
                <c:pt idx="9">
                  <c:v>2.371327007662504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c:v>
                </c:pt>
                <c:pt idx="11">
                  <c:v>97.719211203683415</c:v>
                </c:pt>
                <c:pt idx="12">
                  <c:v>95.615542067789534</c:v>
                </c:pt>
                <c:pt idx="13">
                  <c:v>93.665886642206218</c:v>
                </c:pt>
                <c:pt idx="14">
                  <c:v>91.850829723662457</c:v>
                </c:pt>
                <c:pt idx="15">
                  <c:v>90.154010019143399</c:v>
                </c:pt>
                <c:pt idx="16">
                  <c:v>88.561593697069114</c:v>
                </c:pt>
                <c:pt idx="17">
                  <c:v>87.061840832874921</c:v>
                </c:pt>
                <c:pt idx="18">
                  <c:v>83.809865808011793</c:v>
                </c:pt>
                <c:pt idx="19">
                  <c:v>80.790775821716863</c:v>
                </c:pt>
                <c:pt idx="20">
                  <c:v>77.98352907295768</c:v>
                </c:pt>
                <c:pt idx="21">
                  <c:v>75.369185428675024</c:v>
                </c:pt>
                <c:pt idx="22">
                  <c:v>72.930669208672015</c:v>
                </c:pt>
                <c:pt idx="23">
                  <c:v>70.652564830715519</c:v>
                </c:pt>
                <c:pt idx="24">
                  <c:v>68.520940153565888</c:v>
                </c:pt>
                <c:pt idx="25">
                  <c:v>66.523192906847498</c:v>
                </c:pt>
                <c:pt idx="26">
                  <c:v>64.6479162809538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3.19877497781427</c:v>
                </c:pt>
                <c:pt idx="1">
                  <c:v>119.90253077659246</c:v>
                </c:pt>
                <c:pt idx="2">
                  <c:v>117.32087702402359</c:v>
                </c:pt>
                <c:pt idx="3">
                  <c:v>115.27977311281821</c:v>
                </c:pt>
                <c:pt idx="4">
                  <c:v>111.24979288106441</c:v>
                </c:pt>
                <c:pt idx="5">
                  <c:v>107.89514398828246</c:v>
                </c:pt>
                <c:pt idx="6">
                  <c:v>105.07796679192739</c:v>
                </c:pt>
                <c:pt idx="7">
                  <c:v>102.69151390753318</c:v>
                </c:pt>
                <c:pt idx="8">
                  <c:v>101.72920030494011</c:v>
                </c:pt>
                <c:pt idx="9">
                  <c:v>100.83435732776375</c:v>
                </c:pt>
                <c:pt idx="10">
                  <c:v>100</c:v>
                </c:pt>
                <c:pt idx="11">
                  <c:v>99.110033079395436</c:v>
                </c:pt>
                <c:pt idx="12">
                  <c:v>98.337298287347849</c:v>
                </c:pt>
                <c:pt idx="13">
                  <c:v>97.66526222590204</c:v>
                </c:pt>
                <c:pt idx="14">
                  <c:v>97.079978115874539</c:v>
                </c:pt>
                <c:pt idx="15">
                  <c:v>96.569665938114497</c:v>
                </c:pt>
                <c:pt idx="16">
                  <c:v>96.124358106976544</c:v>
                </c:pt>
                <c:pt idx="17">
                  <c:v>95.735602407857883</c:v>
                </c:pt>
                <c:pt idx="18">
                  <c:v>93.350589919222742</c:v>
                </c:pt>
                <c:pt idx="19">
                  <c:v>91.136033920234894</c:v>
                </c:pt>
                <c:pt idx="20">
                  <c:v>89.077793222217039</c:v>
                </c:pt>
                <c:pt idx="21">
                  <c:v>87.162967643383212</c:v>
                </c:pt>
                <c:pt idx="22">
                  <c:v>85.37976832008151</c:v>
                </c:pt>
                <c:pt idx="23">
                  <c:v>83.717407001505634</c:v>
                </c:pt>
                <c:pt idx="24">
                  <c:v>82.166001349322741</c:v>
                </c:pt>
                <c:pt idx="25">
                  <c:v>80.716493357085511</c:v>
                </c:pt>
                <c:pt idx="26">
                  <c:v>79.3605783294950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4.45203050395156</c:v>
                </c:pt>
                <c:pt idx="1">
                  <c:v>112.36853606117729</c:v>
                </c:pt>
                <c:pt idx="2">
                  <c:v>110.87549514026939</c:v>
                </c:pt>
                <c:pt idx="3">
                  <c:v>109.82769586018813</c:v>
                </c:pt>
                <c:pt idx="4">
                  <c:v>106.80980754221643</c:v>
                </c:pt>
                <c:pt idx="5">
                  <c:v>104.36129149154256</c:v>
                </c:pt>
                <c:pt idx="6">
                  <c:v>102.36572151078079</c:v>
                </c:pt>
                <c:pt idx="7">
                  <c:v>100.73240772875309</c:v>
                </c:pt>
                <c:pt idx="8">
                  <c:v>100.45436275541687</c:v>
                </c:pt>
                <c:pt idx="9">
                  <c:v>100.21168563124105</c:v>
                </c:pt>
                <c:pt idx="10">
                  <c:v>100</c:v>
                </c:pt>
                <c:pt idx="11">
                  <c:v>99.703752524977602</c:v>
                </c:pt>
                <c:pt idx="12">
                  <c:v>99.499179519507081</c:v>
                </c:pt>
                <c:pt idx="13">
                  <c:v>99.372558446473718</c:v>
                </c:pt>
                <c:pt idx="14">
                  <c:v>99.312280332460844</c:v>
                </c:pt>
                <c:pt idx="15">
                  <c:v>99.308523034523049</c:v>
                </c:pt>
                <c:pt idx="16">
                  <c:v>99.352970746060294</c:v>
                </c:pt>
                <c:pt idx="17">
                  <c:v>99.43857545432455</c:v>
                </c:pt>
                <c:pt idx="18">
                  <c:v>97.426360642906076</c:v>
                </c:pt>
                <c:pt idx="19">
                  <c:v>95.557510829132198</c:v>
                </c:pt>
                <c:pt idx="20">
                  <c:v>93.820899628788524</c:v>
                </c:pt>
                <c:pt idx="21">
                  <c:v>92.206262508235881</c:v>
                </c:pt>
                <c:pt idx="22">
                  <c:v>90.704115168962545</c:v>
                </c:pt>
                <c:pt idx="23">
                  <c:v>89.305684562783469</c:v>
                </c:pt>
                <c:pt idx="24">
                  <c:v>88.002850579073197</c:v>
                </c:pt>
                <c:pt idx="25">
                  <c:v>86.788096325820291</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540033302671191</c:v>
                </c:pt>
                <c:pt idx="1">
                  <c:v>0.65967540682011727</c:v>
                </c:pt>
                <c:pt idx="2">
                  <c:v>0.66516451316172831</c:v>
                </c:pt>
                <c:pt idx="3">
                  <c:v>0.67047936215916104</c:v>
                </c:pt>
                <c:pt idx="4">
                  <c:v>0.67562812212542411</c:v>
                </c:pt>
                <c:pt idx="5">
                  <c:v>0.68061845870810989</c:v>
                </c:pt>
                <c:pt idx="6">
                  <c:v>0.68545757297010834</c:v>
                </c:pt>
                <c:pt idx="7">
                  <c:v>0.69015223606010667</c:v>
                </c:pt>
                <c:pt idx="8">
                  <c:v>0.69470882082392871</c:v>
                </c:pt>
                <c:pt idx="9">
                  <c:v>0.69913333066706007</c:v>
                </c:pt>
                <c:pt idx="10">
                  <c:v>0.70343142594324493</c:v>
                </c:pt>
                <c:pt idx="11">
                  <c:v>0.70760844811305845</c:v>
                </c:pt>
                <c:pt idx="12">
                  <c:v>0.71166944188926584</c:v>
                </c:pt>
                <c:pt idx="13">
                  <c:v>0.71561917556201582</c:v>
                </c:pt>
                <c:pt idx="14">
                  <c:v>0.71946215967604255</c:v>
                </c:pt>
                <c:pt idx="15">
                  <c:v>0.72320266421369528</c:v>
                </c:pt>
                <c:pt idx="16">
                  <c:v>0.72684473442140995</c:v>
                </c:pt>
                <c:pt idx="17">
                  <c:v>0.7303922054029498</c:v>
                </c:pt>
                <c:pt idx="18">
                  <c:v>0.73384871559009168</c:v>
                </c:pt>
                <c:pt idx="19">
                  <c:v>0.73721771919021706</c:v>
                </c:pt>
                <c:pt idx="20">
                  <c:v>0.74050249770033938</c:v>
                </c:pt>
                <c:pt idx="21">
                  <c:v>0.74370617056823651</c:v>
                </c:pt>
                <c:pt idx="22">
                  <c:v>0.74683170507350194</c:v>
                </c:pt>
                <c:pt idx="23">
                  <c:v>0.74988192549430299</c:v>
                </c:pt>
                <c:pt idx="24">
                  <c:v>0.75285952161937075</c:v>
                </c:pt>
                <c:pt idx="25">
                  <c:v>0.7557670566591429</c:v>
                </c:pt>
                <c:pt idx="26">
                  <c:v>0.758606974604966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9.9056279609424466E-2</c:v>
                </c:pt>
                <c:pt idx="1">
                  <c:v>8.3691960549898151E-2</c:v>
                </c:pt>
                <c:pt idx="2">
                  <c:v>7.8404832656276444E-2</c:v>
                </c:pt>
                <c:pt idx="3">
                  <c:v>5.3727300574208235E-2</c:v>
                </c:pt>
                <c:pt idx="4">
                  <c:v>5.0133655676962388E-2</c:v>
                </c:pt>
                <c:pt idx="5">
                  <c:v>4.8075662815136359E-2</c:v>
                </c:pt>
                <c:pt idx="6">
                  <c:v>4.1831359846726618E-2</c:v>
                </c:pt>
                <c:pt idx="7">
                  <c:v>3.6424646061217571E-2</c:v>
                </c:pt>
                <c:pt idx="8">
                  <c:v>3.5482674717082656E-2</c:v>
                </c:pt>
                <c:pt idx="9">
                  <c:v>3.21170205790789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9.9029746467752505E-2</c:v>
                </c:pt>
                <c:pt idx="1">
                  <c:v>9.8050984716824385E-2</c:v>
                </c:pt>
                <c:pt idx="2">
                  <c:v>9.5694750957749555E-2</c:v>
                </c:pt>
                <c:pt idx="3">
                  <c:v>6.76926399141701E-2</c:v>
                </c:pt>
                <c:pt idx="4">
                  <c:v>4.3069663677976426E-2</c:v>
                </c:pt>
                <c:pt idx="5">
                  <c:v>4.135337307955355E-2</c:v>
                </c:pt>
                <c:pt idx="6">
                  <c:v>3.5747823637044519E-2</c:v>
                </c:pt>
                <c:pt idx="7">
                  <c:v>3.4633327712798465E-2</c:v>
                </c:pt>
                <c:pt idx="8">
                  <c:v>2.9983254748547863E-2</c:v>
                </c:pt>
                <c:pt idx="9">
                  <c:v>2.79688309693715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51.15610457802629</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c:v>
                </c:pt>
                <c:pt idx="11">
                  <c:v>96.342187076578384</c:v>
                </c:pt>
                <c:pt idx="12">
                  <c:v>92.988422344296396</c:v>
                </c:pt>
                <c:pt idx="13">
                  <c:v>89.912101840768614</c:v>
                </c:pt>
                <c:pt idx="14">
                  <c:v>87.086926149472106</c:v>
                </c:pt>
                <c:pt idx="15">
                  <c:v>84.487765137005169</c:v>
                </c:pt>
                <c:pt idx="16">
                  <c:v>82.091205680950125</c:v>
                </c:pt>
                <c:pt idx="17">
                  <c:v>79.875835289646545</c:v>
                </c:pt>
                <c:pt idx="18">
                  <c:v>76.495159572291456</c:v>
                </c:pt>
                <c:pt idx="19">
                  <c:v>73.366037032678435</c:v>
                </c:pt>
                <c:pt idx="20">
                  <c:v>70.468342829960349</c:v>
                </c:pt>
                <c:pt idx="21">
                  <c:v>67.782744834941425</c:v>
                </c:pt>
                <c:pt idx="22">
                  <c:v>65.290925232429331</c:v>
                </c:pt>
                <c:pt idx="23">
                  <c:v>62.975737388174579</c:v>
                </c:pt>
                <c:pt idx="24">
                  <c:v>60.821298522054057</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30.61256811041224</c:v>
                </c:pt>
                <c:pt idx="1">
                  <c:v>128.39199505308406</c:v>
                </c:pt>
                <c:pt idx="2">
                  <c:v>126.59823253720084</c:v>
                </c:pt>
                <c:pt idx="3">
                  <c:v>125.14989260314999</c:v>
                </c:pt>
                <c:pt idx="4">
                  <c:v>118.8231686819537</c:v>
                </c:pt>
                <c:pt idx="5">
                  <c:v>113.19261569430637</c:v>
                </c:pt>
                <c:pt idx="6">
                  <c:v>108.21176356510401</c:v>
                </c:pt>
                <c:pt idx="7">
                  <c:v>103.82325187459733</c:v>
                </c:pt>
                <c:pt idx="8">
                  <c:v>102.48664225119957</c:v>
                </c:pt>
                <c:pt idx="9">
                  <c:v>101.21371679242226</c:v>
                </c:pt>
                <c:pt idx="10">
                  <c:v>100</c:v>
                </c:pt>
                <c:pt idx="11">
                  <c:v>97.667505141032848</c:v>
                </c:pt>
                <c:pt idx="12">
                  <c:v>95.548459587233552</c:v>
                </c:pt>
                <c:pt idx="13">
                  <c:v>93.627344969316738</c:v>
                </c:pt>
                <c:pt idx="14">
                  <c:v>91.887570147780991</c:v>
                </c:pt>
                <c:pt idx="15">
                  <c:v>90.312405143793612</c:v>
                </c:pt>
                <c:pt idx="16">
                  <c:v>88.885644054507992</c:v>
                </c:pt>
                <c:pt idx="17">
                  <c:v>87.592024903779802</c:v>
                </c:pt>
                <c:pt idx="18">
                  <c:v>84.923735789344363</c:v>
                </c:pt>
                <c:pt idx="19">
                  <c:v>82.448373087576613</c:v>
                </c:pt>
                <c:pt idx="20">
                  <c:v>80.152872410066877</c:v>
                </c:pt>
                <c:pt idx="21">
                  <c:v>78.024064681239963</c:v>
                </c:pt>
                <c:pt idx="22">
                  <c:v>76.048976067944409</c:v>
                </c:pt>
                <c:pt idx="23">
                  <c:v>74.215070929814203</c:v>
                </c:pt>
                <c:pt idx="24">
                  <c:v>72.510432402467487</c:v>
                </c:pt>
                <c:pt idx="25">
                  <c:v>70.923882974819733</c:v>
                </c:pt>
                <c:pt idx="26">
                  <c:v>69.4450524839979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20.24044632467752</c:v>
                </c:pt>
                <c:pt idx="1">
                  <c:v>119.36759091630226</c:v>
                </c:pt>
                <c:pt idx="2">
                  <c:v>118.81370881873569</c:v>
                </c:pt>
                <c:pt idx="3">
                  <c:v>118.51773229469509</c:v>
                </c:pt>
                <c:pt idx="4">
                  <c:v>113.52764113870786</c:v>
                </c:pt>
                <c:pt idx="5">
                  <c:v>109.06726910257478</c:v>
                </c:pt>
                <c:pt idx="6">
                  <c:v>105.11566652550776</c:v>
                </c:pt>
                <c:pt idx="7">
                  <c:v>101.63811123949972</c:v>
                </c:pt>
                <c:pt idx="8">
                  <c:v>101.06992309334062</c:v>
                </c:pt>
                <c:pt idx="9">
                  <c:v>100.52435688284773</c:v>
                </c:pt>
                <c:pt idx="10">
                  <c:v>100</c:v>
                </c:pt>
                <c:pt idx="11">
                  <c:v>98.312654719519102</c:v>
                </c:pt>
                <c:pt idx="12">
                  <c:v>96.792169860468263</c:v>
                </c:pt>
                <c:pt idx="13">
                  <c:v>95.428964995801664</c:v>
                </c:pt>
                <c:pt idx="14">
                  <c:v>94.211612657338264</c:v>
                </c:pt>
                <c:pt idx="15">
                  <c:v>93.127822648597572</c:v>
                </c:pt>
                <c:pt idx="16">
                  <c:v>92.165176563657937</c:v>
                </c:pt>
                <c:pt idx="17">
                  <c:v>91.311627601088048</c:v>
                </c:pt>
                <c:pt idx="18">
                  <c:v>89.011482180494596</c:v>
                </c:pt>
                <c:pt idx="19">
                  <c:v>86.870906063095916</c:v>
                </c:pt>
                <c:pt idx="20">
                  <c:v>84.881093216011124</c:v>
                </c:pt>
                <c:pt idx="21">
                  <c:v>83.032562225414111</c:v>
                </c:pt>
                <c:pt idx="22">
                  <c:v>81.315513353424066</c:v>
                </c:pt>
                <c:pt idx="23">
                  <c:v>79.720130841649535</c:v>
                </c:pt>
                <c:pt idx="24">
                  <c:v>78.236821889996861</c:v>
                </c:pt>
                <c:pt idx="25">
                  <c:v>76.8563922907137</c:v>
                </c:pt>
                <c:pt idx="26">
                  <c:v>75.5701646164536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4821761915017651</c:v>
                </c:pt>
                <c:pt idx="1">
                  <c:v>0.653984543426403</c:v>
                </c:pt>
                <c:pt idx="2">
                  <c:v>0.65956543788726751</c:v>
                </c:pt>
                <c:pt idx="3">
                  <c:v>0.66496916109540627</c:v>
                </c:pt>
                <c:pt idx="4">
                  <c:v>0.67020401795329032</c:v>
                </c:pt>
                <c:pt idx="5">
                  <c:v>0.67527780229247047</c:v>
                </c:pt>
                <c:pt idx="6">
                  <c:v>0.6801978355910695</c:v>
                </c:pt>
                <c:pt idx="7">
                  <c:v>0.68497100222403862</c:v>
                </c:pt>
                <c:pt idx="8">
                  <c:v>0.68960378160309688</c:v>
                </c:pt>
                <c:pt idx="9">
                  <c:v>0.69410227752189257</c:v>
                </c:pt>
                <c:pt idx="10">
                  <c:v>0.69847224498586558</c:v>
                </c:pt>
                <c:pt idx="11">
                  <c:v>0.70271911477479698</c:v>
                </c:pt>
                <c:pt idx="12">
                  <c:v>0.70684801595848057</c:v>
                </c:pt>
                <c:pt idx="13">
                  <c:v>0.71086379656178877</c:v>
                </c:pt>
                <c:pt idx="14">
                  <c:v>0.71477104255419699</c:v>
                </c:pt>
                <c:pt idx="15">
                  <c:v>0.71857409532014127</c:v>
                </c:pt>
                <c:pt idx="16">
                  <c:v>0.72227706775013922</c:v>
                </c:pt>
                <c:pt idx="17">
                  <c:v>0.72588385907805963</c:v>
                </c:pt>
                <c:pt idx="18">
                  <c:v>0.72939816857705886</c:v>
                </c:pt>
                <c:pt idx="19">
                  <c:v>0.73282350821532372</c:v>
                </c:pt>
                <c:pt idx="20">
                  <c:v>0.73616321436263232</c:v>
                </c:pt>
                <c:pt idx="21">
                  <c:v>0.73942045862976036</c:v>
                </c:pt>
                <c:pt idx="22">
                  <c:v>0.74259825791476319</c:v>
                </c:pt>
                <c:pt idx="23">
                  <c:v>0.74569948372301909</c:v>
                </c:pt>
                <c:pt idx="24">
                  <c:v>0.74872687082155465</c:v>
                </c:pt>
                <c:pt idx="25">
                  <c:v>0.75168302528247743</c:v>
                </c:pt>
                <c:pt idx="26">
                  <c:v>0.754570431965239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2.4254673354699004E-2</c:v>
                </c:pt>
                <c:pt idx="5">
                  <c:v>2.3168265424140886E-2</c:v>
                </c:pt>
                <c:pt idx="6">
                  <c:v>1.2806255841047498E-2</c:v>
                </c:pt>
                <c:pt idx="7">
                  <c:v>9.546089724928767E-3</c:v>
                </c:pt>
                <c:pt idx="8">
                  <c:v>6.555308085941557E-3</c:v>
                </c:pt>
                <c:pt idx="9">
                  <c:v>5.101778024438972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9.5057948357324715E-2</c:v>
                </c:pt>
                <c:pt idx="2">
                  <c:v>6.5944132191829027E-2</c:v>
                </c:pt>
                <c:pt idx="3">
                  <c:v>5.8791534003782932E-2</c:v>
                </c:pt>
                <c:pt idx="4">
                  <c:v>5.8302261810764804E-2</c:v>
                </c:pt>
                <c:pt idx="5">
                  <c:v>4.9212861636708446E-2</c:v>
                </c:pt>
                <c:pt idx="6">
                  <c:v>4.6099477097015659E-2</c:v>
                </c:pt>
                <c:pt idx="7">
                  <c:v>4.1599164517806479E-2</c:v>
                </c:pt>
                <c:pt idx="8">
                  <c:v>4.0229557597482785E-2</c:v>
                </c:pt>
                <c:pt idx="9">
                  <c:v>3.95493216168978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9.3776651445373033E-2</c:v>
                </c:pt>
                <c:pt idx="3">
                  <c:v>5.6137914934776392E-2</c:v>
                </c:pt>
                <c:pt idx="4">
                  <c:v>5.2748331940214548E-2</c:v>
                </c:pt>
                <c:pt idx="5">
                  <c:v>4.9253951314445946E-2</c:v>
                </c:pt>
                <c:pt idx="6">
                  <c:v>3.5847792232701306E-2</c:v>
                </c:pt>
                <c:pt idx="7">
                  <c:v>3.5130543004066199E-2</c:v>
                </c:pt>
                <c:pt idx="8">
                  <c:v>3.4038747872252056E-2</c:v>
                </c:pt>
                <c:pt idx="9">
                  <c:v>3.395242552669938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09</c:v>
                </c:pt>
                <c:pt idx="1">
                  <c:v>0.29329140772513579</c:v>
                </c:pt>
                <c:pt idx="2">
                  <c:v>0</c:v>
                </c:pt>
                <c:pt idx="3">
                  <c:v>-0.24970077895652801</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7.8658626337304763E-2</c:v>
                </c:pt>
                <c:pt idx="2">
                  <c:v>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
          <c:min val="215"/>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c:v>
                </c:pt>
                <c:pt idx="13">
                  <c:v>95.54189322012617</c:v>
                </c:pt>
                <c:pt idx="14">
                  <c:v>91.433059157531261</c:v>
                </c:pt>
                <c:pt idx="15">
                  <c:v>87.638594541065004</c:v>
                </c:pt>
                <c:pt idx="16">
                  <c:v>84.127330438060881</c:v>
                </c:pt>
                <c:pt idx="17">
                  <c:v>80.871490179384537</c:v>
                </c:pt>
                <c:pt idx="18">
                  <c:v>77.846351285874746</c:v>
                </c:pt>
                <c:pt idx="19">
                  <c:v>75.029922104347207</c:v>
                </c:pt>
                <c:pt idx="20">
                  <c:v>73.990436121353753</c:v>
                </c:pt>
                <c:pt idx="21">
                  <c:v>72.973585013963501</c:v>
                </c:pt>
                <c:pt idx="22">
                  <c:v>71.978613789978766</c:v>
                </c:pt>
                <c:pt idx="23">
                  <c:v>71.004803858203218</c:v>
                </c:pt>
                <c:pt idx="24">
                  <c:v>70.051470732728376</c:v>
                </c:pt>
                <c:pt idx="25">
                  <c:v>69.117961909544206</c:v>
                </c:pt>
                <c:pt idx="26">
                  <c:v>68.20365490108405</c:v>
                </c:pt>
                <c:pt idx="27">
                  <c:v>67.409204917234433</c:v>
                </c:pt>
                <c:pt idx="28">
                  <c:v>66.632013045506</c:v>
                </c:pt>
                <c:pt idx="29">
                  <c:v>65.871494232132221</c:v>
                </c:pt>
                <c:pt idx="30">
                  <c:v>65.127091073803101</c:v>
                </c:pt>
                <c:pt idx="31">
                  <c:v>64.398272186562764</c:v>
                </c:pt>
                <c:pt idx="32">
                  <c:v>63.6845306840753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1</c:v>
                </c:pt>
                <c:pt idx="5">
                  <c:v>118.03128739708558</c:v>
                </c:pt>
                <c:pt idx="6">
                  <c:v>115.4006627510948</c:v>
                </c:pt>
                <c:pt idx="7">
                  <c:v>113.05747570990326</c:v>
                </c:pt>
                <c:pt idx="8">
                  <c:v>110.96326005082607</c:v>
                </c:pt>
                <c:pt idx="9">
                  <c:v>109.08409235234227</c:v>
                </c:pt>
                <c:pt idx="10">
                  <c:v>107.39053519008411</c:v>
                </c:pt>
                <c:pt idx="11">
                  <c:v>103.54429370675953</c:v>
                </c:pt>
                <c:pt idx="12">
                  <c:v>100</c:v>
                </c:pt>
                <c:pt idx="13">
                  <c:v>96.729547837453183</c:v>
                </c:pt>
                <c:pt idx="14">
                  <c:v>93.707210438114103</c:v>
                </c:pt>
                <c:pt idx="15">
                  <c:v>90.909591925409202</c:v>
                </c:pt>
                <c:pt idx="16">
                  <c:v>88.315523325652904</c:v>
                </c:pt>
                <c:pt idx="17">
                  <c:v>85.905923209262596</c:v>
                </c:pt>
                <c:pt idx="18">
                  <c:v>83.663638605314546</c:v>
                </c:pt>
                <c:pt idx="19">
                  <c:v>81.573277938812794</c:v>
                </c:pt>
                <c:pt idx="20">
                  <c:v>81.371487893182064</c:v>
                </c:pt>
                <c:pt idx="21">
                  <c:v>81.168792356548849</c:v>
                </c:pt>
                <c:pt idx="22">
                  <c:v>80.965194463449976</c:v>
                </c:pt>
                <c:pt idx="23">
                  <c:v>80.760700829313649</c:v>
                </c:pt>
                <c:pt idx="24">
                  <c:v>80.555321195151336</c:v>
                </c:pt>
                <c:pt idx="25">
                  <c:v>80.349068099790017</c:v>
                </c:pt>
                <c:pt idx="26">
                  <c:v>80.141956577857769</c:v>
                </c:pt>
                <c:pt idx="27">
                  <c:v>80.054875679713618</c:v>
                </c:pt>
                <c:pt idx="28">
                  <c:v>79.968556479252015</c:v>
                </c:pt>
                <c:pt idx="29">
                  <c:v>79.882939493178057</c:v>
                </c:pt>
                <c:pt idx="30">
                  <c:v>79.797969749513925</c:v>
                </c:pt>
                <c:pt idx="31">
                  <c:v>79.713596502416735</c:v>
                </c:pt>
                <c:pt idx="32">
                  <c:v>79.6297729610854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c:v>
                </c:pt>
                <c:pt idx="13">
                  <c:v>97.380914497909004</c:v>
                </c:pt>
                <c:pt idx="14">
                  <c:v>94.952925377809578</c:v>
                </c:pt>
                <c:pt idx="15">
                  <c:v>92.699282623035558</c:v>
                </c:pt>
                <c:pt idx="16">
                  <c:v>90.604570756596587</c:v>
                </c:pt>
                <c:pt idx="17">
                  <c:v>88.65469324315643</c:v>
                </c:pt>
                <c:pt idx="18">
                  <c:v>86.836821848309967</c:v>
                </c:pt>
                <c:pt idx="19">
                  <c:v>85.139323645267226</c:v>
                </c:pt>
                <c:pt idx="20">
                  <c:v>85.383970981802662</c:v>
                </c:pt>
                <c:pt idx="21">
                  <c:v>85.61515761948219</c:v>
                </c:pt>
                <c:pt idx="22">
                  <c:v>85.833290292997589</c:v>
                </c:pt>
                <c:pt idx="23">
                  <c:v>86.038761715945952</c:v>
                </c:pt>
                <c:pt idx="24">
                  <c:v>86.231951258144093</c:v>
                </c:pt>
                <c:pt idx="25">
                  <c:v>86.413225573255431</c:v>
                </c:pt>
                <c:pt idx="26">
                  <c:v>86.582939181680402</c:v>
                </c:pt>
                <c:pt idx="27">
                  <c:v>86.871917762310389</c:v>
                </c:pt>
                <c:pt idx="28">
                  <c:v>87.152885829948332</c:v>
                </c:pt>
                <c:pt idx="29">
                  <c:v>87.426063457836364</c:v>
                </c:pt>
                <c:pt idx="30">
                  <c:v>87.691662904505023</c:v>
                </c:pt>
                <c:pt idx="31">
                  <c:v>87.949889047272023</c:v>
                </c:pt>
                <c:pt idx="32">
                  <c:v>88.2009397788356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00</c:v>
                </c:pt>
                <c:pt idx="1">
                  <c:v>340.00</c:v>
                </c:pt>
                <c:pt idx="2">
                  <c:v>345.00</c:v>
                </c:pt>
                <c:pt idx="3">
                  <c:v>350.00</c:v>
                </c:pt>
                <c:pt idx="4">
                  <c:v>355.00</c:v>
                </c:pt>
                <c:pt idx="5">
                  <c:v>360.00</c:v>
                </c:pt>
                <c:pt idx="6">
                  <c:v>365.00</c:v>
                </c:pt>
                <c:pt idx="7">
                  <c:v>370.00</c:v>
                </c:pt>
                <c:pt idx="8">
                  <c:v>375.00</c:v>
                </c:pt>
                <c:pt idx="9">
                  <c:v>380.00</c:v>
                </c:pt>
                <c:pt idx="10">
                  <c:v>385.00</c:v>
                </c:pt>
                <c:pt idx="11">
                  <c:v>390.00</c:v>
                </c:pt>
                <c:pt idx="12">
                  <c:v>395.00</c:v>
                </c:pt>
                <c:pt idx="13">
                  <c:v>400.00</c:v>
                </c:pt>
                <c:pt idx="14">
                  <c:v>405.00</c:v>
                </c:pt>
                <c:pt idx="15">
                  <c:v>410.00</c:v>
                </c:pt>
                <c:pt idx="16">
                  <c:v>415.00</c:v>
                </c:pt>
                <c:pt idx="17">
                  <c:v>420.00</c:v>
                </c:pt>
                <c:pt idx="18">
                  <c:v>425.00</c:v>
                </c:pt>
                <c:pt idx="19">
                  <c:v>430.00</c:v>
                </c:pt>
                <c:pt idx="20">
                  <c:v>435.00</c:v>
                </c:pt>
                <c:pt idx="21">
                  <c:v>440.00</c:v>
                </c:pt>
                <c:pt idx="22">
                  <c:v>445.00</c:v>
                </c:pt>
                <c:pt idx="23">
                  <c:v>450.00</c:v>
                </c:pt>
                <c:pt idx="24">
                  <c:v>455.00</c:v>
                </c:pt>
                <c:pt idx="25">
                  <c:v>460.00</c:v>
                </c:pt>
                <c:pt idx="26">
                  <c:v>465.00</c:v>
                </c:pt>
                <c:pt idx="27">
                  <c:v>470.00</c:v>
                </c:pt>
                <c:pt idx="28">
                  <c:v>475.00</c:v>
                </c:pt>
                <c:pt idx="29">
                  <c:v>480.00</c:v>
                </c:pt>
                <c:pt idx="30">
                  <c:v>485.00</c:v>
                </c:pt>
                <c:pt idx="31">
                  <c:v>490.00</c:v>
                </c:pt>
                <c:pt idx="32">
                  <c:v>495.00</c:v>
                </c:pt>
              </c:strCache>
            </c:strRef>
          </c:cat>
          <c:val>
            <c:numRef>
              <c:f>Sheet1!$E$2:$E$34</c:f>
              <c:numCache>
                <c:formatCode>General</c:formatCode>
                <c:ptCount val="33"/>
                <c:pt idx="0">
                  <c:v>0.5963071087019437</c:v>
                </c:pt>
                <c:pt idx="1">
                  <c:v>0.60224376886809172</c:v>
                </c:pt>
                <c:pt idx="2">
                  <c:v>0.6080083519279742</c:v>
                </c:pt>
                <c:pt idx="3">
                  <c:v>0.61360823261471764</c:v>
                </c:pt>
                <c:pt idx="4">
                  <c:v>0.61905037018352438</c:v>
                </c:pt>
                <c:pt idx="5">
                  <c:v>0.62434133726430874</c:v>
                </c:pt>
                <c:pt idx="6">
                  <c:v>0.62948734634287973</c:v>
                </c:pt>
                <c:pt idx="7">
                  <c:v>0.63449427409500314</c:v>
                </c:pt>
                <c:pt idx="8">
                  <c:v>0.63936768377373643</c:v>
                </c:pt>
                <c:pt idx="9">
                  <c:v>0.64411284582934514</c:v>
                </c:pt>
                <c:pt idx="10">
                  <c:v>0.64873475692247051</c:v>
                </c:pt>
                <c:pt idx="11">
                  <c:v>0.65323815747474656</c:v>
                </c:pt>
                <c:pt idx="12">
                  <c:v>0.6576275478864585</c:v>
                </c:pt>
                <c:pt idx="13">
                  <c:v>0.6619072035378778</c:v>
                </c:pt>
                <c:pt idx="14">
                  <c:v>0.66608118867938571</c:v>
                </c:pt>
                <c:pt idx="15">
                  <c:v>0.67015336930524683</c:v>
                </c:pt>
                <c:pt idx="16">
                  <c:v>0.67412742509674983</c:v>
                </c:pt>
                <c:pt idx="17">
                  <c:v>0.67800686051226455</c:v>
                </c:pt>
                <c:pt idx="18">
                  <c:v>0.68179501509447338</c:v>
                </c:pt>
                <c:pt idx="19">
                  <c:v>0.685495073058491</c:v>
                </c:pt>
                <c:pt idx="20">
                  <c:v>0.68911007221873832</c:v>
                </c:pt>
                <c:pt idx="21">
                  <c:v>0.69264291230716168</c:v>
                </c:pt>
                <c:pt idx="22">
                  <c:v>0.69609636273067688</c:v>
                </c:pt>
                <c:pt idx="23">
                  <c:v>0.69947306981144708</c:v>
                </c:pt>
                <c:pt idx="24">
                  <c:v>0.70277556354978266</c:v>
                </c:pt>
                <c:pt idx="25">
                  <c:v>0.70600626394598076</c:v>
                </c:pt>
                <c:pt idx="26">
                  <c:v>0.70916748691430365</c:v>
                </c:pt>
                <c:pt idx="27">
                  <c:v>0.71226144981947048</c:v>
                </c:pt>
                <c:pt idx="28">
                  <c:v>0.71529027666347611</c:v>
                </c:pt>
                <c:pt idx="29">
                  <c:v>0.71825600294823166</c:v>
                </c:pt>
                <c:pt idx="30">
                  <c:v>0.72116058023742513</c:v>
                </c:pt>
                <c:pt idx="31">
                  <c:v>0.72400588043908398</c:v>
                </c:pt>
                <c:pt idx="32">
                  <c:v>0.72679369982858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9.911227986781676E-2</c:v>
                </c:pt>
                <c:pt idx="2">
                  <c:v>9.2167786256561565E-2</c:v>
                </c:pt>
                <c:pt idx="3">
                  <c:v>9.1020736858619236E-2</c:v>
                </c:pt>
                <c:pt idx="4">
                  <c:v>5.63467870988167E-2</c:v>
                </c:pt>
                <c:pt idx="5">
                  <c:v>4.6690864097451927E-2</c:v>
                </c:pt>
                <c:pt idx="6">
                  <c:v>3.9846689011407838E-2</c:v>
                </c:pt>
                <c:pt idx="7">
                  <c:v>3.7905111432734492E-2</c:v>
                </c:pt>
                <c:pt idx="8">
                  <c:v>3.5519361079713339E-2</c:v>
                </c:pt>
                <c:pt idx="9">
                  <c:v>3.19790641881576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9.6958617768118649E-2</c:v>
                </c:pt>
                <c:pt idx="1">
                  <c:v>9.0629844650903818E-2</c:v>
                </c:pt>
                <c:pt idx="2">
                  <c:v>8.7085547920877568E-2</c:v>
                </c:pt>
                <c:pt idx="3">
                  <c:v>7.569857474930218E-2</c:v>
                </c:pt>
                <c:pt idx="4">
                  <c:v>5.0297106875612382E-2</c:v>
                </c:pt>
                <c:pt idx="5">
                  <c:v>3.9563060107327221E-2</c:v>
                </c:pt>
                <c:pt idx="6">
                  <c:v>3.5632659359172286E-2</c:v>
                </c:pt>
                <c:pt idx="7">
                  <c:v>3.3092194128029183E-2</c:v>
                </c:pt>
                <c:pt idx="8">
                  <c:v>3.1074939160959911E-2</c:v>
                </c:pt>
                <c:pt idx="9">
                  <c:v>2.72400501834676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c:v>
                </c:pt>
                <c:pt idx="6">
                  <c:v>99.076616117204949</c:v>
                </c:pt>
                <c:pt idx="7">
                  <c:v>98.166610394104424</c:v>
                </c:pt>
                <c:pt idx="8">
                  <c:v>97.269708396660064</c:v>
                </c:pt>
                <c:pt idx="9">
                  <c:v>96.385641972092188</c:v>
                </c:pt>
                <c:pt idx="10">
                  <c:v>92.558779660240376</c:v>
                </c:pt>
                <c:pt idx="11">
                  <c:v>89.234511557529558</c:v>
                </c:pt>
                <c:pt idx="12">
                  <c:v>86.300742442397706</c:v>
                </c:pt>
                <c:pt idx="13">
                  <c:v>85.069270518385864</c:v>
                </c:pt>
                <c:pt idx="14">
                  <c:v>83.871560717023158</c:v>
                </c:pt>
                <c:pt idx="15">
                  <c:v>82.7061014362413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C$2:$C$17</c:f>
              <c:numCache>
                <c:formatCode>General</c:formatCode>
                <c:ptCount val="16"/>
                <c:pt idx="0">
                  <c:v>103.96585007468676</c:v>
                </c:pt>
                <c:pt idx="1">
                  <c:v>102.4665709006583</c:v>
                </c:pt>
                <c:pt idx="2">
                  <c:v>101.1335423064008</c:v>
                </c:pt>
                <c:pt idx="3">
                  <c:v>99.94116974965894</c:v>
                </c:pt>
                <c:pt idx="4">
                  <c:v>98.868571229706802</c:v>
                </c:pt>
                <c:pt idx="5">
                  <c:v>1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3</c:v>
                </c:pt>
                <c:pt idx="14">
                  <c:v>99.540545265477604</c:v>
                </c:pt>
                <c:pt idx="15">
                  <c:v>99.8652565656534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D$2:$D$17</c:f>
              <c:numCache>
                <c:formatCode>General</c:formatCode>
                <c:ptCount val="16"/>
                <c:pt idx="0">
                  <c:v>91.446510832759287</c:v>
                </c:pt>
                <c:pt idx="1">
                  <c:v>92.808023999065469</c:v>
                </c:pt>
                <c:pt idx="2">
                  <c:v>94.129419605167314</c:v>
                </c:pt>
                <c:pt idx="3">
                  <c:v>95.410772279617078</c:v>
                </c:pt>
                <c:pt idx="4">
                  <c:v>96.652351080655947</c:v>
                </c:pt>
                <c:pt idx="5">
                  <c:v>100</c:v>
                </c:pt>
                <c:pt idx="6">
                  <c:v>103.28233440325214</c:v>
                </c:pt>
                <c:pt idx="7">
                  <c:v>106.5007890246171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E$2:$E$17</c:f>
              <c:numCache>
                <c:formatCode>General</c:formatCode>
                <c:ptCount val="16"/>
                <c:pt idx="0">
                  <c:v>0.43157202125949479</c:v>
                </c:pt>
                <c:pt idx="1">
                  <c:v>0.44449083895814256</c:v>
                </c:pt>
                <c:pt idx="2">
                  <c:v>0.45683548698129506</c:v>
                </c:pt>
                <c:pt idx="3">
                  <c:v>0.46864341117735386</c:v>
                </c:pt>
                <c:pt idx="4">
                  <c:v>0.47994887051400587</c:v>
                </c:pt>
                <c:pt idx="5">
                  <c:v>0.490783269044964</c:v>
                </c:pt>
                <c:pt idx="6">
                  <c:v>0.50117544722771989</c:v>
                </c:pt>
                <c:pt idx="7">
                  <c:v>0.51115193828316552</c:v>
                </c:pt>
                <c:pt idx="8">
                  <c:v>0.52073719439526023</c:v>
                </c:pt>
                <c:pt idx="9">
                  <c:v>0.52995378681073613</c:v>
                </c:pt>
                <c:pt idx="10">
                  <c:v>0.53882258328600507</c:v>
                </c:pt>
                <c:pt idx="11">
                  <c:v>0.54736290581774583</c:v>
                </c:pt>
                <c:pt idx="12">
                  <c:v>0.55559267116651412</c:v>
                </c:pt>
                <c:pt idx="13">
                  <c:v>0.56352851632425494</c:v>
                </c:pt>
                <c:pt idx="14">
                  <c:v>0.5711859107747066</c:v>
                </c:pt>
                <c:pt idx="15">
                  <c:v>0.57857925714065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5.8125290130522519E-2</c:v>
                </c:pt>
                <c:pt idx="1">
                  <c:v>4.3848892284299196E-2</c:v>
                </c:pt>
                <c:pt idx="2">
                  <c:v>3.7712295010347952E-2</c:v>
                </c:pt>
                <c:pt idx="3">
                  <c:v>3.5579824319085095E-2</c:v>
                </c:pt>
                <c:pt idx="4">
                  <c:v>3.2757464081595994E-2</c:v>
                </c:pt>
                <c:pt idx="5">
                  <c:v>3.1413043269982552E-2</c:v>
                </c:pt>
                <c:pt idx="6">
                  <c:v>3.0517236299881862E-2</c:v>
                </c:pt>
                <c:pt idx="7">
                  <c:v>2.7300943609072897E-2</c:v>
                </c:pt>
                <c:pt idx="8">
                  <c:v>2.2423912778479816E-2</c:v>
                </c:pt>
                <c:pt idx="9">
                  <c:v>2.140776623021467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5.0084359541581823E-2</c:v>
                </c:pt>
                <c:pt idx="1">
                  <c:v>5.0045720258919763E-2</c:v>
                </c:pt>
                <c:pt idx="2">
                  <c:v>4.792657538857014E-2</c:v>
                </c:pt>
                <c:pt idx="3">
                  <c:v>4.3818771793610982E-2</c:v>
                </c:pt>
                <c:pt idx="4">
                  <c:v>4.2703504259794509E-2</c:v>
                </c:pt>
                <c:pt idx="5">
                  <c:v>3.8124169227271541E-2</c:v>
                </c:pt>
                <c:pt idx="6">
                  <c:v>3.0969491385507506E-2</c:v>
                </c:pt>
                <c:pt idx="7">
                  <c:v>2.971925916243761E-2</c:v>
                </c:pt>
                <c:pt idx="8">
                  <c:v>2.6303982188447372E-2</c:v>
                </c:pt>
                <c:pt idx="9">
                  <c:v>2.47252102323610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c:v>
                </c:pt>
                <c:pt idx="9">
                  <c:v>98.386543640391267</c:v>
                </c:pt>
                <c:pt idx="10">
                  <c:v>96.831357960028058</c:v>
                </c:pt>
                <c:pt idx="11">
                  <c:v>95.330748374780754</c:v>
                </c:pt>
                <c:pt idx="12">
                  <c:v>86.702518919231082</c:v>
                </c:pt>
                <c:pt idx="13">
                  <c:v>79.968581854442661</c:v>
                </c:pt>
                <c:pt idx="14">
                  <c:v>77.479837830764041</c:v>
                </c:pt>
                <c:pt idx="15">
                  <c:v>75.33236024183023</c:v>
                </c:pt>
                <c:pt idx="16">
                  <c:v>73.4433881899418</c:v>
                </c:pt>
                <c:pt idx="17">
                  <c:v>71.459438873181426</c:v>
                </c:pt>
                <c:pt idx="18">
                  <c:v>69.673493830898124</c:v>
                </c:pt>
                <c:pt idx="19">
                  <c:v>68.0511805875634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c:v>
                </c:pt>
                <c:pt idx="9">
                  <c:v>100.17065210823992</c:v>
                </c:pt>
                <c:pt idx="10">
                  <c:v>100.34313477637311</c:v>
                </c:pt>
                <c:pt idx="11">
                  <c:v>100.51672491436609</c:v>
                </c:pt>
                <c:pt idx="12">
                  <c:v>92.990706359736237</c:v>
                </c:pt>
                <c:pt idx="13">
                  <c:v>87.21809696877196</c:v>
                </c:pt>
                <c:pt idx="14">
                  <c:v>85.908672173194702</c:v>
                </c:pt>
                <c:pt idx="15">
                  <c:v>84.893606889335715</c:v>
                </c:pt>
                <c:pt idx="16">
                  <c:v>84.096685174092173</c:v>
                </c:pt>
                <c:pt idx="17">
                  <c:v>83.121651176686015</c:v>
                </c:pt>
                <c:pt idx="18">
                  <c:v>82.308476106292488</c:v>
                </c:pt>
                <c:pt idx="19">
                  <c:v>81.6267206858657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D$2:$D$21</c:f>
              <c:numCache>
                <c:formatCode>General</c:formatCode>
                <c:ptCount val="20"/>
                <c:pt idx="0">
                  <c:v>66.459530585957395</c:v>
                </c:pt>
                <c:pt idx="1">
                  <c:v>73.075264661375058</c:v>
                </c:pt>
                <c:pt idx="2">
                  <c:v>79.524714097542628</c:v>
                </c:pt>
                <c:pt idx="3">
                  <c:v>85.81260853253896</c:v>
                </c:pt>
                <c:pt idx="4">
                  <c:v>91.943515871472684</c:v>
                </c:pt>
                <c:pt idx="5">
                  <c:v>97.921848297474199</c:v>
                </c:pt>
                <c:pt idx="6">
                  <c:v>98.220579234421891</c:v>
                </c:pt>
                <c:pt idx="7">
                  <c:v>98.958083175267291</c:v>
                </c:pt>
                <c:pt idx="8">
                  <c:v>1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00</c:v>
                </c:pt>
                <c:pt idx="1">
                  <c:v>240.00</c:v>
                </c:pt>
                <c:pt idx="2">
                  <c:v>245.00</c:v>
                </c:pt>
                <c:pt idx="3">
                  <c:v>250.00</c:v>
                </c:pt>
                <c:pt idx="4">
                  <c:v>255.00</c:v>
                </c:pt>
                <c:pt idx="5">
                  <c:v>260.00</c:v>
                </c:pt>
                <c:pt idx="6">
                  <c:v>265.00</c:v>
                </c:pt>
                <c:pt idx="7">
                  <c:v>270.00</c:v>
                </c:pt>
                <c:pt idx="8">
                  <c:v>275.00</c:v>
                </c:pt>
                <c:pt idx="9">
                  <c:v>280.00</c:v>
                </c:pt>
                <c:pt idx="10">
                  <c:v>285.00</c:v>
                </c:pt>
                <c:pt idx="11">
                  <c:v>290.00</c:v>
                </c:pt>
                <c:pt idx="12">
                  <c:v>295.00</c:v>
                </c:pt>
                <c:pt idx="13">
                  <c:v>300.00</c:v>
                </c:pt>
                <c:pt idx="14">
                  <c:v>305.00</c:v>
                </c:pt>
                <c:pt idx="15">
                  <c:v>310.00</c:v>
                </c:pt>
                <c:pt idx="16">
                  <c:v>315.00</c:v>
                </c:pt>
                <c:pt idx="17">
                  <c:v>320.00</c:v>
                </c:pt>
                <c:pt idx="18">
                  <c:v>325.00</c:v>
                </c:pt>
                <c:pt idx="19">
                  <c:v>330.0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01</c:v>
                </c:pt>
                <c:pt idx="6">
                  <c:v>0.27981632207643875</c:v>
                </c:pt>
                <c:pt idx="7">
                  <c:v>0.29315305685280096</c:v>
                </c:pt>
                <c:pt idx="8">
                  <c:v>0.30600481945547708</c:v>
                </c:pt>
                <c:pt idx="9">
                  <c:v>0.31839759053662936</c:v>
                </c:pt>
                <c:pt idx="10">
                  <c:v>0.33035552754475872</c:v>
                </c:pt>
                <c:pt idx="11">
                  <c:v>0.34190112189743543</c:v>
                </c:pt>
                <c:pt idx="12">
                  <c:v>0.35305534017036017</c:v>
                </c:pt>
                <c:pt idx="13">
                  <c:v>0.36383775116752093</c:v>
                </c:pt>
                <c:pt idx="14">
                  <c:v>0.37426664049264341</c:v>
                </c:pt>
                <c:pt idx="15">
                  <c:v>0.38435911403308465</c:v>
                </c:pt>
                <c:pt idx="16">
                  <c:v>0.39413119158811499</c:v>
                </c:pt>
                <c:pt idx="17">
                  <c:v>0.40359789171955063</c:v>
                </c:pt>
                <c:pt idx="18">
                  <c:v>0.41277330877001916</c:v>
                </c:pt>
                <c:pt idx="19">
                  <c:v>0.421670682879564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9.2789684832174826E-2</c:v>
                </c:pt>
                <c:pt idx="3">
                  <c:v>8.0377549900842934E-2</c:v>
                </c:pt>
                <c:pt idx="4">
                  <c:v>2.8125109395658057E-2</c:v>
                </c:pt>
                <c:pt idx="5">
                  <c:v>1.7405717850739612E-2</c:v>
                </c:pt>
                <c:pt idx="6">
                  <c:v>1.3950494898928785E-2</c:v>
                </c:pt>
                <c:pt idx="7">
                  <c:v>1.3366172706267233E-2</c:v>
                </c:pt>
                <c:pt idx="8">
                  <c:v>9.0637345129133285E-3</c:v>
                </c:pt>
                <c:pt idx="9">
                  <c:v>6.8651484196283197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8.5498220346965095E-2</c:v>
                </c:pt>
                <c:pt idx="1">
                  <c:v>6.7876285373889247E-2</c:v>
                </c:pt>
                <c:pt idx="2">
                  <c:v>4.863253137527631E-2</c:v>
                </c:pt>
                <c:pt idx="3">
                  <c:v>4.5290462023747098E-2</c:v>
                </c:pt>
                <c:pt idx="4">
                  <c:v>4.069769772902878E-2</c:v>
                </c:pt>
                <c:pt idx="5">
                  <c:v>3.8094246310490402E-2</c:v>
                </c:pt>
                <c:pt idx="6">
                  <c:v>3.4693981213287171E-2</c:v>
                </c:pt>
                <c:pt idx="7">
                  <c:v>3.0535227132124552E-2</c:v>
                </c:pt>
                <c:pt idx="8">
                  <c:v>2.921381277974263E-2</c:v>
                </c:pt>
                <c:pt idx="9">
                  <c:v>2.852856899786688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7.4242504930962211E-2</c:v>
                </c:pt>
                <c:pt idx="1">
                  <c:v>5.952499408792486E-2</c:v>
                </c:pt>
                <c:pt idx="2">
                  <c:v>5.4785783365159747E-2</c:v>
                </c:pt>
                <c:pt idx="3">
                  <c:v>5.2195161492670818E-2</c:v>
                </c:pt>
                <c:pt idx="4">
                  <c:v>4.4040783622318579E-2</c:v>
                </c:pt>
                <c:pt idx="5">
                  <c:v>4.3851416054485781E-2</c:v>
                </c:pt>
                <c:pt idx="6">
                  <c:v>4.0505474035249969E-2</c:v>
                </c:pt>
                <c:pt idx="7">
                  <c:v>3.1578884851119336E-2</c:v>
                </c:pt>
                <c:pt idx="8">
                  <c:v>3.0242321866609481E-2</c:v>
                </c:pt>
                <c:pt idx="9">
                  <c:v>2.56687116399048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c:v>
                </c:pt>
                <c:pt idx="3">
                  <c:v>-0.16069068707273479</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2</c:v>
                </c:pt>
                <c:pt idx="1">
                  <c:v>0.37161636440989188</c:v>
                </c:pt>
                <c:pt idx="2">
                  <c:v>0</c:v>
                </c:pt>
                <c:pt idx="3">
                  <c:v>-0.21344585892039791</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30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c:v>
                </c:pt>
                <c:pt idx="12">
                  <c:v>97.823366899951296</c:v>
                </c:pt>
                <c:pt idx="13">
                  <c:v>95.765209002469021</c:v>
                </c:pt>
                <c:pt idx="14">
                  <c:v>93.815114428957827</c:v>
                </c:pt>
                <c:pt idx="15">
                  <c:v>91.963841865684429</c:v>
                </c:pt>
                <c:pt idx="16">
                  <c:v>90.203169401810584</c:v>
                </c:pt>
                <c:pt idx="17">
                  <c:v>88.525764599504015</c:v>
                </c:pt>
                <c:pt idx="18">
                  <c:v>86.925072665612419</c:v>
                </c:pt>
                <c:pt idx="19">
                  <c:v>85.395220062021053</c:v>
                </c:pt>
                <c:pt idx="20">
                  <c:v>83.930931292726456</c:v>
                </c:pt>
                <c:pt idx="21">
                  <c:v>82.759854390316931</c:v>
                </c:pt>
                <c:pt idx="22">
                  <c:v>81.612900903420439</c:v>
                </c:pt>
                <c:pt idx="23">
                  <c:v>80.489355044999897</c:v>
                </c:pt>
                <c:pt idx="24">
                  <c:v>79.388531647076803</c:v>
                </c:pt>
                <c:pt idx="25">
                  <c:v>78.309774348525039</c:v>
                </c:pt>
                <c:pt idx="26">
                  <c:v>77.252453917740382</c:v>
                </c:pt>
                <c:pt idx="27">
                  <c:v>76.2159666986941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58</c:v>
                </c:pt>
                <c:pt idx="7">
                  <c:v>99.867106232686567</c:v>
                </c:pt>
                <c:pt idx="8">
                  <c:v>99.849815992053919</c:v>
                </c:pt>
                <c:pt idx="9">
                  <c:v>99.869354753712074</c:v>
                </c:pt>
                <c:pt idx="10">
                  <c:v>99.920809557127683</c:v>
                </c:pt>
                <c:pt idx="11">
                  <c:v>100</c:v>
                </c:pt>
                <c:pt idx="12">
                  <c:v>99.086121319166793</c:v>
                </c:pt>
                <c:pt idx="13">
                  <c:v>98.23770101468709</c:v>
                </c:pt>
                <c:pt idx="14">
                  <c:v>97.448493795323088</c:v>
                </c:pt>
                <c:pt idx="15">
                  <c:v>96.712950602277502</c:v>
                </c:pt>
                <c:pt idx="16">
                  <c:v>96.02613275754149</c:v>
                </c:pt>
                <c:pt idx="17">
                  <c:v>95.383637371669238</c:v>
                </c:pt>
                <c:pt idx="18">
                  <c:v>94.781532497924474</c:v>
                </c:pt>
                <c:pt idx="19">
                  <c:v>94.216300716251141</c:v>
                </c:pt>
                <c:pt idx="20">
                  <c:v>93.684790006033438</c:v>
                </c:pt>
                <c:pt idx="21">
                  <c:v>93.446912237776402</c:v>
                </c:pt>
                <c:pt idx="22">
                  <c:v>93.206325942596607</c:v>
                </c:pt>
                <c:pt idx="23">
                  <c:v>92.963139989659922</c:v>
                </c:pt>
                <c:pt idx="24">
                  <c:v>92.717461957310618</c:v>
                </c:pt>
                <c:pt idx="25">
                  <c:v>92.46939797533831</c:v>
                </c:pt>
                <c:pt idx="26">
                  <c:v>92.219052587515407</c:v>
                </c:pt>
                <c:pt idx="27">
                  <c:v>91.9665286327483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D$2:$D$29</c:f>
              <c:numCache>
                <c:formatCode>General</c:formatCode>
                <c:ptCount val="28"/>
                <c:pt idx="0">
                  <c:v>95.349134891318982</c:v>
                </c:pt>
                <c:pt idx="1">
                  <c:v>95.01478769960103</c:v>
                </c:pt>
                <c:pt idx="2">
                  <c:v>95.45671084768766</c:v>
                </c:pt>
                <c:pt idx="3">
                  <c:v>95.911258245891645</c:v>
                </c:pt>
                <c:pt idx="4">
                  <c:v>96.375703335560601</c:v>
                </c:pt>
                <c:pt idx="5">
                  <c:v>96.806919442888358</c:v>
                </c:pt>
                <c:pt idx="6">
                  <c:v>97.275882744960597</c:v>
                </c:pt>
                <c:pt idx="7">
                  <c:v>97.776360677102218</c:v>
                </c:pt>
                <c:pt idx="8">
                  <c:v>98.303105446695668</c:v>
                </c:pt>
                <c:pt idx="9">
                  <c:v>98.851691073322328</c:v>
                </c:pt>
                <c:pt idx="10">
                  <c:v>99.418377885039661</c:v>
                </c:pt>
                <c:pt idx="11">
                  <c:v>100</c:v>
                </c:pt>
                <c:pt idx="12">
                  <c:v>99.574323847588303</c:v>
                </c:pt>
                <c:pt idx="13">
                  <c:v>99.19344426687735</c:v>
                </c:pt>
                <c:pt idx="14">
                  <c:v>98.852752110272206</c:v>
                </c:pt>
                <c:pt idx="15">
                  <c:v>98.548147147705578</c:v>
                </c:pt>
                <c:pt idx="16">
                  <c:v>98.275978136993146</c:v>
                </c:pt>
                <c:pt idx="17">
                  <c:v>98.03299017244376</c:v>
                </c:pt>
                <c:pt idx="18">
                  <c:v>97.816278449232513</c:v>
                </c:pt>
                <c:pt idx="19">
                  <c:v>97.6232476673691</c:v>
                </c:pt>
                <c:pt idx="20">
                  <c:v>97.451576383285726</c:v>
                </c:pt>
                <c:pt idx="21">
                  <c:v>97.573180349375107</c:v>
                </c:pt>
                <c:pt idx="22">
                  <c:v>97.68173480481201</c:v>
                </c:pt>
                <c:pt idx="23">
                  <c:v>97.777665585896003</c:v>
                </c:pt>
                <c:pt idx="24">
                  <c:v>97.861385024738027</c:v>
                </c:pt>
                <c:pt idx="25">
                  <c:v>97.933292423213828</c:v>
                </c:pt>
                <c:pt idx="26">
                  <c:v>97.993774503385964</c:v>
                </c:pt>
                <c:pt idx="27">
                  <c:v>98.0432058365064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00</c:v>
                </c:pt>
                <c:pt idx="1">
                  <c:v>335.00</c:v>
                </c:pt>
                <c:pt idx="2">
                  <c:v>340.00</c:v>
                </c:pt>
                <c:pt idx="3">
                  <c:v>345.00</c:v>
                </c:pt>
                <c:pt idx="4">
                  <c:v>350.00</c:v>
                </c:pt>
                <c:pt idx="5">
                  <c:v>355.00</c:v>
                </c:pt>
                <c:pt idx="6">
                  <c:v>360.00</c:v>
                </c:pt>
                <c:pt idx="7">
                  <c:v>365.00</c:v>
                </c:pt>
                <c:pt idx="8">
                  <c:v>370.00</c:v>
                </c:pt>
                <c:pt idx="9">
                  <c:v>375.00</c:v>
                </c:pt>
                <c:pt idx="10">
                  <c:v>380.00</c:v>
                </c:pt>
                <c:pt idx="11">
                  <c:v>385.00</c:v>
                </c:pt>
                <c:pt idx="12">
                  <c:v>390.00</c:v>
                </c:pt>
                <c:pt idx="13">
                  <c:v>395.00</c:v>
                </c:pt>
                <c:pt idx="14">
                  <c:v>400.00</c:v>
                </c:pt>
                <c:pt idx="15">
                  <c:v>405.00</c:v>
                </c:pt>
                <c:pt idx="16">
                  <c:v>410.00</c:v>
                </c:pt>
                <c:pt idx="17">
                  <c:v>415.00</c:v>
                </c:pt>
                <c:pt idx="18">
                  <c:v>420.00</c:v>
                </c:pt>
                <c:pt idx="19">
                  <c:v>425.00</c:v>
                </c:pt>
                <c:pt idx="20">
                  <c:v>430.00</c:v>
                </c:pt>
                <c:pt idx="21">
                  <c:v>435.00</c:v>
                </c:pt>
                <c:pt idx="22">
                  <c:v>440.00</c:v>
                </c:pt>
                <c:pt idx="23">
                  <c:v>445.00</c:v>
                </c:pt>
                <c:pt idx="24">
                  <c:v>450.00</c:v>
                </c:pt>
                <c:pt idx="25">
                  <c:v>455.00</c:v>
                </c:pt>
                <c:pt idx="26">
                  <c:v>460.00</c:v>
                </c:pt>
                <c:pt idx="27">
                  <c:v>465.00</c:v>
                </c:pt>
              </c:strCache>
            </c:strRef>
          </c:cat>
          <c:val>
            <c:numRef>
              <c:f>Sheet1!$E$2:$E$29</c:f>
              <c:numCache>
                <c:formatCode>General</c:formatCode>
                <c:ptCount val="28"/>
                <c:pt idx="0">
                  <c:v>0.6798260056729325</c:v>
                </c:pt>
                <c:pt idx="1">
                  <c:v>0.68460472200617228</c:v>
                </c:pt>
                <c:pt idx="2">
                  <c:v>0.68924288785902277</c:v>
                </c:pt>
                <c:pt idx="3">
                  <c:v>0.6937466141219355</c:v>
                </c:pt>
                <c:pt idx="4">
                  <c:v>0.69812166249162211</c:v>
                </c:pt>
                <c:pt idx="5">
                  <c:v>0.70237347006216255</c:v>
                </c:pt>
                <c:pt idx="6">
                  <c:v>0.70650717186685486</c:v>
                </c:pt>
                <c:pt idx="7">
                  <c:v>0.71052762156730886</c:v>
                </c:pt>
                <c:pt idx="8">
                  <c:v>0.71443941046504789</c:v>
                </c:pt>
                <c:pt idx="9">
                  <c:v>0.7182468849921807</c:v>
                </c:pt>
                <c:pt idx="10">
                  <c:v>0.72195416282123082</c:v>
                </c:pt>
                <c:pt idx="11">
                  <c:v>0.72556514771965652</c:v>
                </c:pt>
                <c:pt idx="12">
                  <c:v>0.72908354326171221</c:v>
                </c:pt>
                <c:pt idx="13">
                  <c:v>0.73251286549890571</c:v>
                </c:pt>
                <c:pt idx="14">
                  <c:v>0.73585645468016925</c:v>
                </c:pt>
                <c:pt idx="15">
                  <c:v>0.73911748610387096</c:v>
                </c:pt>
                <c:pt idx="16">
                  <c:v>0.742298980175775</c:v>
                </c:pt>
                <c:pt idx="17">
                  <c:v>0.74540381173992232</c:v>
                </c:pt>
                <c:pt idx="18">
                  <c:v>0.74843471874301837</c:v>
                </c:pt>
                <c:pt idx="19">
                  <c:v>0.75139431028721826</c:v>
                </c:pt>
                <c:pt idx="20">
                  <c:v>0.75428507412108792</c:v>
                </c:pt>
                <c:pt idx="21">
                  <c:v>0.75710938361394886</c:v>
                </c:pt>
                <c:pt idx="22">
                  <c:v>0.75986950425469935</c:v>
                </c:pt>
                <c:pt idx="23">
                  <c:v>0.76256759971251165</c:v>
                </c:pt>
                <c:pt idx="24">
                  <c:v>0.76520573749348397</c:v>
                </c:pt>
                <c:pt idx="25">
                  <c:v>0.76778589422432464</c:v>
                </c:pt>
                <c:pt idx="26">
                  <c:v>0.77030996059145151</c:v>
                </c:pt>
                <c:pt idx="27">
                  <c:v>0.772779745961436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7.6691145650866002E-2</c:v>
                </c:pt>
                <c:pt idx="2">
                  <c:v>6.1243238037829328E-2</c:v>
                </c:pt>
                <c:pt idx="3">
                  <c:v>5.8575050353005746E-2</c:v>
                </c:pt>
                <c:pt idx="4">
                  <c:v>4.8002797682624873E-2</c:v>
                </c:pt>
                <c:pt idx="5">
                  <c:v>4.5729777229132483E-2</c:v>
                </c:pt>
                <c:pt idx="6">
                  <c:v>3.9812853140902792E-2</c:v>
                </c:pt>
                <c:pt idx="7">
                  <c:v>3.5788913197284222E-2</c:v>
                </c:pt>
                <c:pt idx="8">
                  <c:v>3.4837116042542748E-2</c:v>
                </c:pt>
                <c:pt idx="9">
                  <c:v>3.462538498594434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2160594006875809E-2</c:v>
                </c:pt>
                <c:pt idx="1">
                  <c:v>7.3786816609321862E-2</c:v>
                </c:pt>
                <c:pt idx="2">
                  <c:v>5.4780918838417576E-2</c:v>
                </c:pt>
                <c:pt idx="3">
                  <c:v>5.2981587994931571E-2</c:v>
                </c:pt>
                <c:pt idx="4">
                  <c:v>4.2447213631708294E-2</c:v>
                </c:pt>
                <c:pt idx="5">
                  <c:v>3.4342084868621385E-2</c:v>
                </c:pt>
                <c:pt idx="6">
                  <c:v>3.1864408303726756E-2</c:v>
                </c:pt>
                <c:pt idx="7">
                  <c:v>3.0420939380766444E-2</c:v>
                </c:pt>
                <c:pt idx="8">
                  <c:v>2.6666662256752627E-2</c:v>
                </c:pt>
                <c:pt idx="9">
                  <c:v>2.65751280678201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47.89392630017412</c:v>
                </c:pt>
                <c:pt idx="1">
                  <c:v>143.83920258959429</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c:v>
                </c:pt>
                <c:pt idx="11">
                  <c:v>96.081946872285044</c:v>
                </c:pt>
                <c:pt idx="12">
                  <c:v>92.50754327220028</c:v>
                </c:pt>
                <c:pt idx="13">
                  <c:v>89.242905722230077</c:v>
                </c:pt>
                <c:pt idx="14">
                  <c:v>86.255021183477666</c:v>
                </c:pt>
                <c:pt idx="15">
                  <c:v>83.512871113081502</c:v>
                </c:pt>
                <c:pt idx="16">
                  <c:v>80.988117818199186</c:v>
                </c:pt>
                <c:pt idx="17">
                  <c:v>78.655414107960169</c:v>
                </c:pt>
                <c:pt idx="18">
                  <c:v>75.225673352301925</c:v>
                </c:pt>
                <c:pt idx="19">
                  <c:v>72.044926999697509</c:v>
                </c:pt>
                <c:pt idx="20">
                  <c:v>69.09219274880752</c:v>
                </c:pt>
                <c:pt idx="21">
                  <c:v>66.3480767059568</c:v>
                </c:pt>
                <c:pt idx="22">
                  <c:v>63.794755204202581</c:v>
                </c:pt>
                <c:pt idx="23">
                  <c:v>61.415915596005568</c:v>
                </c:pt>
                <c:pt idx="24">
                  <c:v>59.196672038121633</c:v>
                </c:pt>
                <c:pt idx="25">
                  <c:v>57.123468091512486</c:v>
                </c:pt>
                <c:pt idx="26">
                  <c:v>55.1839743840178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c:v>
                </c:pt>
                <c:pt idx="11">
                  <c:v>97.409050796227319</c:v>
                </c:pt>
                <c:pt idx="12">
                  <c:v>95.064665230473949</c:v>
                </c:pt>
                <c:pt idx="13">
                  <c:v>92.945438684749774</c:v>
                </c:pt>
                <c:pt idx="14">
                  <c:v>91.02907873896612</c:v>
                </c:pt>
                <c:pt idx="15">
                  <c:v>89.293657735009901</c:v>
                </c:pt>
                <c:pt idx="16">
                  <c:v>87.718484709401096</c:v>
                </c:pt>
                <c:pt idx="17">
                  <c:v>86.284621694830079</c:v>
                </c:pt>
                <c:pt idx="18">
                  <c:v>83.552928378633311</c:v>
                </c:pt>
                <c:pt idx="19">
                  <c:v>81.008971311558284</c:v>
                </c:pt>
                <c:pt idx="20">
                  <c:v>78.638740106530818</c:v>
                </c:pt>
                <c:pt idx="21">
                  <c:v>76.428970221335661</c:v>
                </c:pt>
                <c:pt idx="22">
                  <c:v>74.367219563022985</c:v>
                </c:pt>
                <c:pt idx="23">
                  <c:v>72.441896715264392</c:v>
                </c:pt>
                <c:pt idx="24">
                  <c:v>70.642255899027646</c:v>
                </c:pt>
                <c:pt idx="25">
                  <c:v>68.958370404235012</c:v>
                </c:pt>
                <c:pt idx="26">
                  <c:v>67.3810931348179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39</c:v>
                </c:pt>
                <c:pt idx="9">
                  <c:v>100.36809226863564</c:v>
                </c:pt>
                <c:pt idx="10">
                  <c:v>100</c:v>
                </c:pt>
                <c:pt idx="11">
                  <c:v>98.046933732673864</c:v>
                </c:pt>
                <c:pt idx="12">
                  <c:v>96.291315623490092</c:v>
                </c:pt>
                <c:pt idx="13">
                  <c:v>94.718267416145324</c:v>
                </c:pt>
                <c:pt idx="14">
                  <c:v>93.311080673753651</c:v>
                </c:pt>
                <c:pt idx="15">
                  <c:v>92.052544785008678</c:v>
                </c:pt>
                <c:pt idx="16">
                  <c:v>90.925921487305914</c:v>
                </c:pt>
                <c:pt idx="17">
                  <c:v>89.915572980283926</c:v>
                </c:pt>
                <c:pt idx="18">
                  <c:v>87.533289050194483</c:v>
                </c:pt>
                <c:pt idx="19">
                  <c:v>85.305545208259588</c:v>
                </c:pt>
                <c:pt idx="20">
                  <c:v>83.222344699966783</c:v>
                </c:pt>
                <c:pt idx="21">
                  <c:v>81.273920061715359</c:v>
                </c:pt>
                <c:pt idx="22">
                  <c:v>79.450872901893462</c:v>
                </c:pt>
                <c:pt idx="23">
                  <c:v>77.744259517149217</c:v>
                </c:pt>
                <c:pt idx="24">
                  <c:v>76.145637075599836</c:v>
                </c:pt>
                <c:pt idx="25">
                  <c:v>74.647082236560777</c:v>
                </c:pt>
                <c:pt idx="26">
                  <c:v>73.2411912658142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4828320067639511</c:v>
                </c:pt>
                <c:pt idx="1">
                  <c:v>0.6540490498456345</c:v>
                </c:pt>
                <c:pt idx="2">
                  <c:v>0.65962890388038242</c:v>
                </c:pt>
                <c:pt idx="3">
                  <c:v>0.6650316196918048</c:v>
                </c:pt>
                <c:pt idx="4">
                  <c:v>0.67026550063412027</c:v>
                </c:pt>
                <c:pt idx="5">
                  <c:v>0.67533833908590302</c:v>
                </c:pt>
                <c:pt idx="6">
                  <c:v>0.68025745516035918</c:v>
                </c:pt>
                <c:pt idx="7">
                  <c:v>0.6850297319490104</c:v>
                </c:pt>
                <c:pt idx="8">
                  <c:v>0.68966164765564264</c:v>
                </c:pt>
                <c:pt idx="9">
                  <c:v>0.69415930493599576</c:v>
                </c:pt>
                <c:pt idx="10">
                  <c:v>0.69852845772262429</c:v>
                </c:pt>
                <c:pt idx="11">
                  <c:v>0.70277453578286897</c:v>
                </c:pt>
                <c:pt idx="12">
                  <c:v>0.70690266723032913</c:v>
                </c:pt>
                <c:pt idx="13">
                  <c:v>0.71091769918607817</c:v>
                </c:pt>
                <c:pt idx="14">
                  <c:v>0.71482421676464469</c:v>
                </c:pt>
                <c:pt idx="15">
                  <c:v>0.71862656054111607</c:v>
                </c:pt>
                <c:pt idx="16">
                  <c:v>0.72232884263925912</c:v>
                </c:pt>
                <c:pt idx="17">
                  <c:v>0.725934961566022</c:v>
                </c:pt>
                <c:pt idx="18">
                  <c:v>0.72944861590491916</c:v>
                </c:pt>
                <c:pt idx="19">
                  <c:v>0.73287331696941393</c:v>
                </c:pt>
                <c:pt idx="20">
                  <c:v>0.73621240050729608</c:v>
                </c:pt>
                <c:pt idx="21">
                  <c:v>0.73946903753807047</c:v>
                </c:pt>
                <c:pt idx="22">
                  <c:v>0.74264624439736227</c:v>
                </c:pt>
                <c:pt idx="23">
                  <c:v>0.74574689205522537</c:v>
                </c:pt>
                <c:pt idx="24">
                  <c:v>0.74877371476885357</c:v>
                </c:pt>
                <c:pt idx="25">
                  <c:v>0.75172931812451416</c:v>
                </c:pt>
                <c:pt idx="26">
                  <c:v>0.754616186518415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8.9483417257716885E-2</c:v>
                </c:pt>
                <c:pt idx="2">
                  <c:v>8.4214073849992119E-2</c:v>
                </c:pt>
                <c:pt idx="3">
                  <c:v>7.0651318629613921E-2</c:v>
                </c:pt>
                <c:pt idx="4">
                  <c:v>5.4425530232698839E-2</c:v>
                </c:pt>
                <c:pt idx="5">
                  <c:v>4.9659510871015548E-2</c:v>
                </c:pt>
                <c:pt idx="6">
                  <c:v>4.6920476087750893E-2</c:v>
                </c:pt>
                <c:pt idx="7">
                  <c:v>4.1700699137483595E-2</c:v>
                </c:pt>
                <c:pt idx="8">
                  <c:v>3.9609013941580409E-2</c:v>
                </c:pt>
                <c:pt idx="9">
                  <c:v>3.4089885320303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6.6250528525767127E-2</c:v>
                </c:pt>
                <c:pt idx="4">
                  <c:v>5.4829497316148258E-2</c:v>
                </c:pt>
                <c:pt idx="5">
                  <c:v>4.356459302944133E-2</c:v>
                </c:pt>
                <c:pt idx="6">
                  <c:v>3.8441491765081284E-2</c:v>
                </c:pt>
                <c:pt idx="7">
                  <c:v>3.7860100297428395E-2</c:v>
                </c:pt>
                <c:pt idx="8">
                  <c:v>3.6459951185690426E-2</c:v>
                </c:pt>
                <c:pt idx="9">
                  <c:v>3.30296129298177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1</c:v>
                </c:pt>
                <c:pt idx="1">
                  <c:v>0.28858769074258833</c:v>
                </c:pt>
                <c:pt idx="2">
                  <c:v>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1</c:v>
                </c:pt>
                <c:pt idx="1">
                  <c:v>0.56423896033767518</c:v>
                </c:pt>
                <c:pt idx="2">
                  <c:v>0</c:v>
                </c:pt>
                <c:pt idx="3">
                  <c:v>-0.24218645762540023</c:v>
                </c:pt>
                <c:pt idx="4">
                  <c:v>-0.39362284903340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5"/>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8.2170077820610296E-2</c:v>
                </c:pt>
                <c:pt idx="5">
                  <c:v>4.9431739359167122E-2</c:v>
                </c:pt>
                <c:pt idx="6">
                  <c:v>3.7124885959892363E-2</c:v>
                </c:pt>
                <c:pt idx="7">
                  <c:v>3.5618545373021636E-2</c:v>
                </c:pt>
                <c:pt idx="8">
                  <c:v>1.7627533859832855E-2</c:v>
                </c:pt>
                <c:pt idx="9">
                  <c:v>1.437601989350781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c:v>
                </c:pt>
                <c:pt idx="7">
                  <c:v>92.785535432014427</c:v>
                </c:pt>
                <c:pt idx="8">
                  <c:v>86.494071497815654</c:v>
                </c:pt>
                <c:pt idx="9">
                  <c:v>83.94457663498342</c:v>
                </c:pt>
                <c:pt idx="10">
                  <c:v>81.592374644690551</c:v>
                </c:pt>
                <c:pt idx="11">
                  <c:v>79.412299830220874</c:v>
                </c:pt>
                <c:pt idx="12">
                  <c:v>77.383084341111925</c:v>
                </c:pt>
                <c:pt idx="13">
                  <c:v>76.522423281911216</c:v>
                </c:pt>
                <c:pt idx="14">
                  <c:v>75.674787648827845</c:v>
                </c:pt>
                <c:pt idx="15">
                  <c:v>74.839989430204838</c:v>
                </c:pt>
                <c:pt idx="16">
                  <c:v>74.017840857224797</c:v>
                </c:pt>
                <c:pt idx="17">
                  <c:v>73.20815440351844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C$2:$C$19</c:f>
              <c:numCache>
                <c:formatCode>General</c:formatCode>
                <c:ptCount val="18"/>
                <c:pt idx="0">
                  <c:v>114.94191663242491</c:v>
                </c:pt>
                <c:pt idx="1">
                  <c:v>116.52475222540689</c:v>
                </c:pt>
                <c:pt idx="2">
                  <c:v>118.05379288481828</c:v>
                </c:pt>
                <c:pt idx="3">
                  <c:v>119.53108505963277</c:v>
                </c:pt>
                <c:pt idx="4">
                  <c:v>112.14506597356464</c:v>
                </c:pt>
                <c:pt idx="5">
                  <c:v>105.6728610158642</c:v>
                </c:pt>
                <c:pt idx="6">
                  <c:v>100</c:v>
                </c:pt>
                <c:pt idx="7">
                  <c:v>95.028081084100236</c:v>
                </c:pt>
                <c:pt idx="8">
                  <c:v>90.676224599240072</c:v>
                </c:pt>
                <c:pt idx="9">
                  <c:v>90.029768624432776</c:v>
                </c:pt>
                <c:pt idx="10">
                  <c:v>89.476685975866971</c:v>
                </c:pt>
                <c:pt idx="11">
                  <c:v>89.003020791711563</c:v>
                </c:pt>
                <c:pt idx="12">
                  <c:v>88.596860770605304</c:v>
                </c:pt>
                <c:pt idx="13">
                  <c:v>89.459753629492411</c:v>
                </c:pt>
                <c:pt idx="14">
                  <c:v>90.296309398983581</c:v>
                </c:pt>
                <c:pt idx="15">
                  <c:v>91.107265765042328</c:v>
                </c:pt>
                <c:pt idx="16">
                  <c:v>91.893341218182073</c:v>
                </c:pt>
                <c:pt idx="17">
                  <c:v>92.6552351536617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D$2:$D$19</c:f>
              <c:numCache>
                <c:formatCode>General</c:formatCode>
                <c:ptCount val="18"/>
                <c:pt idx="0">
                  <c:v>100.28386871961609</c:v>
                </c:pt>
                <c:pt idx="1">
                  <c:v>104.48188064131556</c:v>
                </c:pt>
                <c:pt idx="2">
                  <c:v>108.55563490437348</c:v>
                </c:pt>
                <c:pt idx="3">
                  <c:v>112.50944507588414</c:v>
                </c:pt>
                <c:pt idx="4">
                  <c:v>107.86731139102645</c:v>
                </c:pt>
                <c:pt idx="5">
                  <c:v>103.70841809786155</c:v>
                </c:pt>
                <c:pt idx="6">
                  <c:v>100</c:v>
                </c:pt>
                <c:pt idx="7">
                  <c:v>96.709678616160645</c:v>
                </c:pt>
                <c:pt idx="8">
                  <c:v>93.810192907405579</c:v>
                </c:pt>
                <c:pt idx="9">
                  <c:v>94.59528431418552</c:v>
                </c:pt>
                <c:pt idx="10">
                  <c:v>95.395395098234047</c:v>
                </c:pt>
                <c:pt idx="11">
                  <c:v>96.20507004301308</c:v>
                </c:pt>
                <c:pt idx="12">
                  <c:v>97.01948358620038</c:v>
                </c:pt>
                <c:pt idx="13">
                  <c:v>99.176758470100509</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00</c:v>
                </c:pt>
                <c:pt idx="1">
                  <c:v>180.00</c:v>
                </c:pt>
                <c:pt idx="2">
                  <c:v>185.00</c:v>
                </c:pt>
                <c:pt idx="3">
                  <c:v>190.00</c:v>
                </c:pt>
                <c:pt idx="4">
                  <c:v>195.00</c:v>
                </c:pt>
                <c:pt idx="5">
                  <c:v>200.00</c:v>
                </c:pt>
                <c:pt idx="6">
                  <c:v>205.00</c:v>
                </c:pt>
                <c:pt idx="7">
                  <c:v>210.00</c:v>
                </c:pt>
                <c:pt idx="8">
                  <c:v>215.00</c:v>
                </c:pt>
                <c:pt idx="9">
                  <c:v>220.00</c:v>
                </c:pt>
                <c:pt idx="10">
                  <c:v>225.00</c:v>
                </c:pt>
                <c:pt idx="11">
                  <c:v>230.00</c:v>
                </c:pt>
                <c:pt idx="12">
                  <c:v>235.00</c:v>
                </c:pt>
                <c:pt idx="13">
                  <c:v>240.00</c:v>
                </c:pt>
                <c:pt idx="14">
                  <c:v>245.00</c:v>
                </c:pt>
                <c:pt idx="15">
                  <c:v>250.00</c:v>
                </c:pt>
                <c:pt idx="16">
                  <c:v>255.00</c:v>
                </c:pt>
                <c:pt idx="17">
                  <c:v>260.00</c:v>
                </c:pt>
              </c:strCache>
            </c:strRef>
          </c:cat>
          <c:val>
            <c:numRef>
              <c:f>Sheet1!$E$2:$E$19</c:f>
              <c:numCache>
                <c:formatCode>General</c:formatCode>
                <c:ptCount val="18"/>
                <c:pt idx="0">
                  <c:v>0.50413681282341039</c:v>
                </c:pt>
                <c:pt idx="1">
                  <c:v>0.51791079024498221</c:v>
                </c:pt>
                <c:pt idx="2">
                  <c:v>0.53094022834646915</c:v>
                </c:pt>
                <c:pt idx="3">
                  <c:v>0.54328390654787795</c:v>
                </c:pt>
                <c:pt idx="4">
                  <c:v>0.55499457561075261</c:v>
                </c:pt>
                <c:pt idx="5">
                  <c:v>0.56611971122048399</c:v>
                </c:pt>
                <c:pt idx="6">
                  <c:v>0.57670215728827701</c:v>
                </c:pt>
                <c:pt idx="7">
                  <c:v>0.58678067735284167</c:v>
                </c:pt>
                <c:pt idx="8">
                  <c:v>0.59639042904231065</c:v>
                </c:pt>
                <c:pt idx="9">
                  <c:v>0.60556337383680359</c:v>
                </c:pt>
                <c:pt idx="10">
                  <c:v>0.61432863219598577</c:v>
                </c:pt>
                <c:pt idx="11">
                  <c:v>0.62271279236563826</c:v>
                </c:pt>
                <c:pt idx="12">
                  <c:v>0.63074017976211405</c:v>
                </c:pt>
                <c:pt idx="13">
                  <c:v>0.6384330926837366</c:v>
                </c:pt>
                <c:pt idx="14">
                  <c:v>0.6458120091595787</c:v>
                </c:pt>
                <c:pt idx="15">
                  <c:v>0.65289576897638724</c:v>
                </c:pt>
                <c:pt idx="16">
                  <c:v>0.65970173429057577</c:v>
                </c:pt>
                <c:pt idx="17">
                  <c:v>0.666245931708064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6.8072100374419631E-2</c:v>
                </c:pt>
                <c:pt idx="1">
                  <c:v>6.5150989762898487E-2</c:v>
                </c:pt>
                <c:pt idx="2">
                  <c:v>5.7992191337717956E-2</c:v>
                </c:pt>
                <c:pt idx="3">
                  <c:v>5.7124599391338897E-2</c:v>
                </c:pt>
                <c:pt idx="4">
                  <c:v>5.1087921194670198E-2</c:v>
                </c:pt>
                <c:pt idx="5">
                  <c:v>4.1730924102360012E-2</c:v>
                </c:pt>
                <c:pt idx="6">
                  <c:v>3.6875036306954025E-2</c:v>
                </c:pt>
                <c:pt idx="7">
                  <c:v>3.6742373930271785E-2</c:v>
                </c:pt>
                <c:pt idx="8">
                  <c:v>3.5462274469331548E-2</c:v>
                </c:pt>
                <c:pt idx="9">
                  <c:v>3.20789414461417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6.4178790360328253E-2</c:v>
                </c:pt>
                <c:pt idx="1">
                  <c:v>5.697309016729514E-2</c:v>
                </c:pt>
                <c:pt idx="2">
                  <c:v>5.570784048622314E-2</c:v>
                </c:pt>
                <c:pt idx="3">
                  <c:v>4.8878720756726703E-2</c:v>
                </c:pt>
                <c:pt idx="4">
                  <c:v>4.5778190171121592E-2</c:v>
                </c:pt>
                <c:pt idx="5">
                  <c:v>4.2243183582167769E-2</c:v>
                </c:pt>
                <c:pt idx="6">
                  <c:v>3.5753954816050565E-2</c:v>
                </c:pt>
                <c:pt idx="7">
                  <c:v>3.5480463780936736E-2</c:v>
                </c:pt>
                <c:pt idx="8">
                  <c:v>3.4124937023998388E-2</c:v>
                </c:pt>
                <c:pt idx="9">
                  <c:v>3.23937909868800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c:v>
                </c:pt>
                <c:pt idx="9">
                  <c:v>97.469003694413686</c:v>
                </c:pt>
                <c:pt idx="10">
                  <c:v>95.215577806039548</c:v>
                </c:pt>
                <c:pt idx="11">
                  <c:v>93.187084439208064</c:v>
                </c:pt>
                <c:pt idx="12">
                  <c:v>86.509855707056303</c:v>
                </c:pt>
                <c:pt idx="13">
                  <c:v>80.754166798539671</c:v>
                </c:pt>
                <c:pt idx="14">
                  <c:v>75.781354237459965</c:v>
                </c:pt>
                <c:pt idx="15">
                  <c:v>71.466516798994235</c:v>
                </c:pt>
                <c:pt idx="16">
                  <c:v>69.512954000598157</c:v>
                </c:pt>
                <c:pt idx="17">
                  <c:v>67.656118468846245</c:v>
                </c:pt>
                <c:pt idx="18">
                  <c:v>65.88949962609675</c:v>
                </c:pt>
                <c:pt idx="19">
                  <c:v>63.123434262145039</c:v>
                </c:pt>
                <c:pt idx="20">
                  <c:v>60.6377150966591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c:v>
                </c:pt>
                <c:pt idx="9">
                  <c:v>99.068828649590685</c:v>
                </c:pt>
                <c:pt idx="10">
                  <c:v>98.342259899196534</c:v>
                </c:pt>
                <c:pt idx="11">
                  <c:v>97.778440724909444</c:v>
                </c:pt>
                <c:pt idx="12">
                  <c:v>92.184306805896327</c:v>
                </c:pt>
                <c:pt idx="13">
                  <c:v>87.371442814887246</c:v>
                </c:pt>
                <c:pt idx="14">
                  <c:v>83.231951078972287</c:v>
                </c:pt>
                <c:pt idx="15">
                  <c:v>79.664444014527149</c:v>
                </c:pt>
                <c:pt idx="16">
                  <c:v>78.630385268696116</c:v>
                </c:pt>
                <c:pt idx="17">
                  <c:v>77.643280336650449</c:v>
                </c:pt>
                <c:pt idx="18">
                  <c:v>76.700291577091903</c:v>
                </c:pt>
                <c:pt idx="19">
                  <c:v>74.518640983898365</c:v>
                </c:pt>
                <c:pt idx="20">
                  <c:v>72.582070131754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D$2:$D$22</c:f>
              <c:numCache>
                <c:formatCode>General</c:formatCode>
                <c:ptCount val="21"/>
                <c:pt idx="0">
                  <c:v>139.00568105742991</c:v>
                </c:pt>
                <c:pt idx="1">
                  <c:v>135.50028648127847</c:v>
                </c:pt>
                <c:pt idx="2">
                  <c:v>132.52407179227319</c:v>
                </c:pt>
                <c:pt idx="3">
                  <c:v>129.9834764766446</c:v>
                </c:pt>
                <c:pt idx="4">
                  <c:v>131.49940500325684</c:v>
                </c:pt>
                <c:pt idx="5">
                  <c:v>132.94712950459686</c:v>
                </c:pt>
                <c:pt idx="6">
                  <c:v>134.3296577339909</c:v>
                </c:pt>
                <c:pt idx="7">
                  <c:v>115.14683441087317</c:v>
                </c:pt>
                <c:pt idx="8">
                  <c:v>100</c:v>
                </c:pt>
                <c:pt idx="9">
                  <c:v>99.951032885984262</c:v>
                </c:pt>
                <c:pt idx="10">
                  <c:v>100.06487008664581</c:v>
                </c:pt>
                <c:pt idx="11">
                  <c:v>100.30605729484381</c:v>
                </c:pt>
                <c:pt idx="12">
                  <c:v>95.321682198959934</c:v>
                </c:pt>
                <c:pt idx="13">
                  <c:v>91.036112429344485</c:v>
                </c:pt>
                <c:pt idx="14">
                  <c:v>87.359898775608684</c:v>
                </c:pt>
                <c:pt idx="15">
                  <c:v>84.205683296455518</c:v>
                </c:pt>
                <c:pt idx="16">
                  <c:v>83.674024657498663</c:v>
                </c:pt>
                <c:pt idx="17">
                  <c:v>83.161767362012426</c:v>
                </c:pt>
                <c:pt idx="18">
                  <c:v>82.668132349447617</c:v>
                </c:pt>
                <c:pt idx="19">
                  <c:v>80.8051197857029</c:v>
                </c:pt>
                <c:pt idx="20">
                  <c:v>79.1672463250990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00</c:v>
                </c:pt>
                <c:pt idx="1">
                  <c:v>265.00</c:v>
                </c:pt>
                <c:pt idx="2">
                  <c:v>270.00</c:v>
                </c:pt>
                <c:pt idx="3">
                  <c:v>275.00</c:v>
                </c:pt>
                <c:pt idx="4">
                  <c:v>280.00</c:v>
                </c:pt>
                <c:pt idx="5">
                  <c:v>285.00</c:v>
                </c:pt>
                <c:pt idx="6">
                  <c:v>290.00</c:v>
                </c:pt>
                <c:pt idx="7">
                  <c:v>295.00</c:v>
                </c:pt>
                <c:pt idx="8">
                  <c:v>300.00</c:v>
                </c:pt>
                <c:pt idx="9">
                  <c:v>305.00</c:v>
                </c:pt>
                <c:pt idx="10">
                  <c:v>310.00</c:v>
                </c:pt>
                <c:pt idx="11">
                  <c:v>315.00</c:v>
                </c:pt>
                <c:pt idx="12">
                  <c:v>320.00</c:v>
                </c:pt>
                <c:pt idx="13">
                  <c:v>325.00</c:v>
                </c:pt>
                <c:pt idx="14">
                  <c:v>330.00</c:v>
                </c:pt>
                <c:pt idx="15">
                  <c:v>335.00</c:v>
                </c:pt>
                <c:pt idx="16">
                  <c:v>340.00</c:v>
                </c:pt>
                <c:pt idx="17">
                  <c:v>345.00</c:v>
                </c:pt>
                <c:pt idx="18">
                  <c:v>350.00</c:v>
                </c:pt>
                <c:pt idx="19">
                  <c:v>355.00</c:v>
                </c:pt>
                <c:pt idx="20">
                  <c:v>360.00</c:v>
                </c:pt>
              </c:strCache>
            </c:strRef>
          </c:cat>
          <c:val>
            <c:numRef>
              <c:f>Sheet1!$E$2:$E$22</c:f>
              <c:numCache>
                <c:formatCode>General</c:formatCode>
                <c:ptCount val="21"/>
                <c:pt idx="0">
                  <c:v>0.60134396380681188</c:v>
                </c:pt>
                <c:pt idx="1">
                  <c:v>0.60886577581045698</c:v>
                </c:pt>
                <c:pt idx="2">
                  <c:v>0.6161090021843374</c:v>
                </c:pt>
                <c:pt idx="3">
                  <c:v>0.62308883850825847</c:v>
                </c:pt>
                <c:pt idx="4">
                  <c:v>0.62981939496346817</c:v>
                </c:pt>
                <c:pt idx="5">
                  <c:v>0.63631379154305645</c:v>
                </c:pt>
                <c:pt idx="6">
                  <c:v>0.6425842434130038</c:v>
                </c:pt>
                <c:pt idx="7">
                  <c:v>0.64864213759244427</c:v>
                </c:pt>
                <c:pt idx="8">
                  <c:v>0.65449810196590352</c:v>
                </c:pt>
                <c:pt idx="9">
                  <c:v>0.6601620675074461</c:v>
                </c:pt>
                <c:pt idx="10">
                  <c:v>0.66564332448313257</c:v>
                </c:pt>
                <c:pt idx="11">
                  <c:v>0.6709505733008605</c:v>
                </c:pt>
                <c:pt idx="12">
                  <c:v>0.67609197059303472</c:v>
                </c:pt>
                <c:pt idx="13">
                  <c:v>0.68107517104544957</c:v>
                </c:pt>
                <c:pt idx="14">
                  <c:v>0.6859073654235488</c:v>
                </c:pt>
                <c:pt idx="15">
                  <c:v>0.6905953151933466</c:v>
                </c:pt>
                <c:pt idx="16">
                  <c:v>0.69514538408756199</c:v>
                </c:pt>
                <c:pt idx="17">
                  <c:v>0.69956356692687272</c:v>
                </c:pt>
                <c:pt idx="18">
                  <c:v>0.70385551597077456</c:v>
                </c:pt>
                <c:pt idx="19">
                  <c:v>0.70802656504160866</c:v>
                </c:pt>
                <c:pt idx="20">
                  <c:v>0.712081751638252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9.8681553530116956E-2</c:v>
                </c:pt>
                <c:pt idx="2">
                  <c:v>9.8115241629095309E-2</c:v>
                </c:pt>
                <c:pt idx="3">
                  <c:v>7.5162278117921449E-2</c:v>
                </c:pt>
                <c:pt idx="4">
                  <c:v>5.9596016304511688E-2</c:v>
                </c:pt>
                <c:pt idx="5">
                  <c:v>5.3873584946462036E-2</c:v>
                </c:pt>
                <c:pt idx="6">
                  <c:v>4.2287688441440832E-2</c:v>
                </c:pt>
                <c:pt idx="7">
                  <c:v>3.4056936775116294E-2</c:v>
                </c:pt>
                <c:pt idx="8">
                  <c:v>3.0810200307865066E-2</c:v>
                </c:pt>
                <c:pt idx="9">
                  <c:v>2.883164051343327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9.9764333270044428E-2</c:v>
                </c:pt>
                <c:pt idx="2">
                  <c:v>9.8533745220366273E-2</c:v>
                </c:pt>
                <c:pt idx="3">
                  <c:v>6.1895270969549193E-2</c:v>
                </c:pt>
                <c:pt idx="4">
                  <c:v>5.8803266032332629E-2</c:v>
                </c:pt>
                <c:pt idx="5">
                  <c:v>5.2305602090617354E-2</c:v>
                </c:pt>
                <c:pt idx="6">
                  <c:v>4.3594175491905994E-2</c:v>
                </c:pt>
                <c:pt idx="7">
                  <c:v>4.1967022572723965E-2</c:v>
                </c:pt>
                <c:pt idx="8">
                  <c:v>3.5380745133447626E-2</c:v>
                </c:pt>
                <c:pt idx="9">
                  <c:v>3.150658251807711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c:v>
                </c:pt>
                <c:pt idx="11">
                  <c:v>96.510864140575919</c:v>
                </c:pt>
                <c:pt idx="12">
                  <c:v>93.295738971237313</c:v>
                </c:pt>
                <c:pt idx="13">
                  <c:v>90.337399554779907</c:v>
                </c:pt>
                <c:pt idx="14">
                  <c:v>87.616856470878204</c:v>
                </c:pt>
                <c:pt idx="15">
                  <c:v>85.113846547499833</c:v>
                </c:pt>
                <c:pt idx="16">
                  <c:v>82.807593229984548</c:v>
                </c:pt>
                <c:pt idx="17">
                  <c:v>80.677642322546674</c:v>
                </c:pt>
                <c:pt idx="18">
                  <c:v>77.508343167977728</c:v>
                </c:pt>
                <c:pt idx="19">
                  <c:v>74.551390717264113</c:v>
                </c:pt>
                <c:pt idx="20">
                  <c:v>71.790190814264662</c:v>
                </c:pt>
                <c:pt idx="21">
                  <c:v>69.209209205876462</c:v>
                </c:pt>
                <c:pt idx="22">
                  <c:v>66.79406681186876</c:v>
                </c:pt>
                <c:pt idx="23">
                  <c:v>64.531546804464739</c:v>
                </c:pt>
                <c:pt idx="24">
                  <c:v>62.409548018127722</c:v>
                </c:pt>
                <c:pt idx="25">
                  <c:v>60.417010289440341</c:v>
                </c:pt>
                <c:pt idx="26">
                  <c:v>58.543828817396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1</c:v>
                </c:pt>
                <c:pt idx="5">
                  <c:v>110.07944572702839</c:v>
                </c:pt>
                <c:pt idx="6">
                  <c:v>106.13852946069713</c:v>
                </c:pt>
                <c:pt idx="7">
                  <c:v>102.58385726305352</c:v>
                </c:pt>
                <c:pt idx="8">
                  <c:v>101.6910222976358</c:v>
                </c:pt>
                <c:pt idx="9">
                  <c:v>100.83040004386356</c:v>
                </c:pt>
                <c:pt idx="10">
                  <c:v>100</c:v>
                </c:pt>
                <c:pt idx="11">
                  <c:v>97.838882389609637</c:v>
                </c:pt>
                <c:pt idx="12">
                  <c:v>95.864844862014209</c:v>
                </c:pt>
                <c:pt idx="13">
                  <c:v>94.070946315804946</c:v>
                </c:pt>
                <c:pt idx="14">
                  <c:v>92.447488173829456</c:v>
                </c:pt>
                <c:pt idx="15">
                  <c:v>90.982411891717504</c:v>
                </c:pt>
                <c:pt idx="16">
                  <c:v>89.662028766326543</c:v>
                </c:pt>
                <c:pt idx="17">
                  <c:v>88.471895025070907</c:v>
                </c:pt>
                <c:pt idx="18">
                  <c:v>86.052674915837684</c:v>
                </c:pt>
                <c:pt idx="19">
                  <c:v>83.787568027879956</c:v>
                </c:pt>
                <c:pt idx="20">
                  <c:v>81.666028943959574</c:v>
                </c:pt>
                <c:pt idx="21">
                  <c:v>79.677886049270256</c:v>
                </c:pt>
                <c:pt idx="22">
                  <c:v>77.813516104586981</c:v>
                </c:pt>
                <c:pt idx="23">
                  <c:v>76.063923521167126</c:v>
                </c:pt>
                <c:pt idx="24">
                  <c:v>74.420757203139686</c:v>
                </c:pt>
                <c:pt idx="25">
                  <c:v>72.876290706124493</c:v>
                </c:pt>
                <c:pt idx="26">
                  <c:v>71.423383803831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c:v>
                </c:pt>
                <c:pt idx="11">
                  <c:v>98.531864490156977</c:v>
                </c:pt>
                <c:pt idx="12">
                  <c:v>97.203086040488643</c:v>
                </c:pt>
                <c:pt idx="13">
                  <c:v>96.012571496495937</c:v>
                </c:pt>
                <c:pt idx="14">
                  <c:v>94.955872617243656</c:v>
                </c:pt>
                <c:pt idx="15">
                  <c:v>94.025543440822403</c:v>
                </c:pt>
                <c:pt idx="16">
                  <c:v>93.21186282321942</c:v>
                </c:pt>
                <c:pt idx="17">
                  <c:v>92.503738933786806</c:v>
                </c:pt>
                <c:pt idx="18">
                  <c:v>90.492944645363366</c:v>
                </c:pt>
                <c:pt idx="19">
                  <c:v>88.601782788533868</c:v>
                </c:pt>
                <c:pt idx="20">
                  <c:v>86.823524317608999</c:v>
                </c:pt>
                <c:pt idx="21">
                  <c:v>85.151354265849321</c:v>
                </c:pt>
                <c:pt idx="22">
                  <c:v>83.578601930746842</c:v>
                </c:pt>
                <c:pt idx="23">
                  <c:v>82.098870831232233</c:v>
                </c:pt>
                <c:pt idx="24">
                  <c:v>80.706100150265343</c:v>
                </c:pt>
                <c:pt idx="25">
                  <c:v>79.394583436710803</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62923344422461713</c:v>
                </c:pt>
                <c:pt idx="1">
                  <c:v>0.63531158448322989</c:v>
                </c:pt>
                <c:pt idx="2">
                  <c:v>0.64119365570124232</c:v>
                </c:pt>
                <c:pt idx="3">
                  <c:v>0.64688899449963522</c:v>
                </c:pt>
                <c:pt idx="4">
                  <c:v>0.65240635396057844</c:v>
                </c:pt>
                <c:pt idx="5">
                  <c:v>0.65775394851503122</c:v>
                </c:pt>
                <c:pt idx="6">
                  <c:v>0.66293949474965186</c:v>
                </c:pt>
                <c:pt idx="7">
                  <c:v>0.66797024855935849</c:v>
                </c:pt>
                <c:pt idx="8">
                  <c:v>0.67285303902172089</c:v>
                </c:pt>
                <c:pt idx="9">
                  <c:v>0.67759429932575399</c:v>
                </c:pt>
                <c:pt idx="10">
                  <c:v>0.68220009504967194</c:v>
                </c:pt>
                <c:pt idx="11">
                  <c:v>0.68667615004897209</c:v>
                </c:pt>
                <c:pt idx="12">
                  <c:v>0.69102787018718081</c:v>
                </c:pt>
                <c:pt idx="13">
                  <c:v>0.69526036511612344</c:v>
                </c:pt>
                <c:pt idx="14">
                  <c:v>0.69937846829023009</c:v>
                </c:pt>
                <c:pt idx="15">
                  <c:v>0.70338675537969364</c:v>
                </c:pt>
                <c:pt idx="16">
                  <c:v>0.70728956122996089</c:v>
                </c:pt>
                <c:pt idx="17">
                  <c:v>0.71109099549970156</c:v>
                </c:pt>
                <c:pt idx="18">
                  <c:v>0.71479495709585938</c:v>
                </c:pt>
                <c:pt idx="19">
                  <c:v>0.7184051475123675</c:v>
                </c:pt>
                <c:pt idx="20">
                  <c:v>0.72192508316846282</c:v>
                </c:pt>
                <c:pt idx="21">
                  <c:v>0.72535810683304958</c:v>
                </c:pt>
                <c:pt idx="22">
                  <c:v>0.72870739821313446</c:v>
                </c:pt>
                <c:pt idx="23">
                  <c:v>0.7319759837768316</c:v>
                </c:pt>
                <c:pt idx="24">
                  <c:v>0.73516674587472652</c:v>
                </c:pt>
                <c:pt idx="25">
                  <c:v>0.73828243121737669</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8.5173417451922084E-2</c:v>
                </c:pt>
                <c:pt idx="3">
                  <c:v>7.1385751593798938E-2</c:v>
                </c:pt>
                <c:pt idx="4">
                  <c:v>6.9064482098168428E-2</c:v>
                </c:pt>
                <c:pt idx="5">
                  <c:v>6.462434983050655E-2</c:v>
                </c:pt>
                <c:pt idx="6">
                  <c:v>4.2787648686772678E-2</c:v>
                </c:pt>
                <c:pt idx="7">
                  <c:v>4.2554284287400476E-2</c:v>
                </c:pt>
                <c:pt idx="8">
                  <c:v>3.677354258185888E-2</c:v>
                </c:pt>
                <c:pt idx="9">
                  <c:v>3.3029406620134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1</c:v>
                </c:pt>
                <c:pt idx="1">
                  <c:v>0.11045401263021572</c:v>
                </c:pt>
                <c:pt idx="2">
                  <c:v>9.3378577464858614E-2</c:v>
                </c:pt>
                <c:pt idx="3">
                  <c:v>8.1350241661714451E-2</c:v>
                </c:pt>
                <c:pt idx="4">
                  <c:v>6.3648455563363765E-2</c:v>
                </c:pt>
                <c:pt idx="5">
                  <c:v>6.2706585428342107E-2</c:v>
                </c:pt>
                <c:pt idx="6">
                  <c:v>3.638017432519787E-2</c:v>
                </c:pt>
                <c:pt idx="7">
                  <c:v>3.4574645124944535E-2</c:v>
                </c:pt>
                <c:pt idx="8">
                  <c:v>3.2641551890760116E-2</c:v>
                </c:pt>
                <c:pt idx="9">
                  <c:v>2.94574433513570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2</c:v>
                </c:pt>
                <c:pt idx="1">
                  <c:v>0.23075001125061118</c:v>
                </c:pt>
                <c:pt idx="2">
                  <c:v>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0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8.4456719808790798E-2</c:v>
                </c:pt>
                <c:pt idx="4">
                  <c:v>8.0800390230156352E-2</c:v>
                </c:pt>
                <c:pt idx="5">
                  <c:v>3.6790393198978193E-2</c:v>
                </c:pt>
                <c:pt idx="6">
                  <c:v>3.0543237303960143E-2</c:v>
                </c:pt>
                <c:pt idx="7">
                  <c:v>2.7259609105778432E-2</c:v>
                </c:pt>
                <c:pt idx="8">
                  <c:v>2.1264938511112892E-2</c:v>
                </c:pt>
                <c:pt idx="9">
                  <c:v>1.58493324602719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1</c:v>
                </c:pt>
                <c:pt idx="7">
                  <c:v>106.35238205788744</c:v>
                </c:pt>
                <c:pt idx="8">
                  <c:v>104.12650377541777</c:v>
                </c:pt>
                <c:pt idx="9">
                  <c:v>102.01234247083096</c:v>
                </c:pt>
                <c:pt idx="10">
                  <c:v>100</c:v>
                </c:pt>
                <c:pt idx="11">
                  <c:v>97.903875867516916</c:v>
                </c:pt>
                <c:pt idx="12">
                  <c:v>95.964010018380989</c:v>
                </c:pt>
                <c:pt idx="13">
                  <c:v>94.160131953217686</c:v>
                </c:pt>
                <c:pt idx="14">
                  <c:v>92.475198843559625</c:v>
                </c:pt>
                <c:pt idx="15">
                  <c:v>90.894855550530593</c:v>
                </c:pt>
                <c:pt idx="16">
                  <c:v>89.406978779107135</c:v>
                </c:pt>
                <c:pt idx="17">
                  <c:v>88.001296316004201</c:v>
                </c:pt>
                <c:pt idx="18">
                  <c:v>84.881895310696024</c:v>
                </c:pt>
                <c:pt idx="19">
                  <c:v>81.969463492201626</c:v>
                </c:pt>
                <c:pt idx="20">
                  <c:v>79.245154234992128</c:v>
                </c:pt>
                <c:pt idx="21">
                  <c:v>76.692106156149748</c:v>
                </c:pt>
                <c:pt idx="22">
                  <c:v>74.295222352523766</c:v>
                </c:pt>
                <c:pt idx="23">
                  <c:v>72.040972870694759</c:v>
                </c:pt>
                <c:pt idx="24">
                  <c:v>69.91721898330465</c:v>
                </c:pt>
                <c:pt idx="25">
                  <c:v>67.913057423141638</c:v>
                </c:pt>
                <c:pt idx="26">
                  <c:v>66.0186825953807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c:v>
                </c:pt>
                <c:pt idx="11">
                  <c:v>99.292532023069853</c:v>
                </c:pt>
                <c:pt idx="12">
                  <c:v>98.68632506091717</c:v>
                </c:pt>
                <c:pt idx="13">
                  <c:v>98.166881103037497</c:v>
                </c:pt>
                <c:pt idx="14">
                  <c:v>97.721966324964043</c:v>
                </c:pt>
                <c:pt idx="15">
                  <c:v>97.341260857664238</c:v>
                </c:pt>
                <c:pt idx="16">
                  <c:v>97.016054121031274</c:v>
                </c:pt>
                <c:pt idx="17">
                  <c:v>96.738984064933604</c:v>
                </c:pt>
                <c:pt idx="18">
                  <c:v>94.508720469384286</c:v>
                </c:pt>
                <c:pt idx="19">
                  <c:v>92.424119886011212</c:v>
                </c:pt>
                <c:pt idx="20">
                  <c:v>90.472359926688355</c:v>
                </c:pt>
                <c:pt idx="21">
                  <c:v>88.64186122659261</c:v>
                </c:pt>
                <c:pt idx="22">
                  <c:v>86.922166938425519</c:v>
                </c:pt>
                <c:pt idx="23">
                  <c:v>85.303831485953737</c:v>
                </c:pt>
                <c:pt idx="24">
                  <c:v>83.778319077924735</c:v>
                </c:pt>
                <c:pt idx="25">
                  <c:v>82.337911825998106</c:v>
                </c:pt>
                <c:pt idx="26">
                  <c:v>80.9756269541074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75</c:v>
                </c:pt>
                <c:pt idx="7">
                  <c:v>99.238429130634259</c:v>
                </c:pt>
                <c:pt idx="8">
                  <c:v>99.483128410086834</c:v>
                </c:pt>
                <c:pt idx="9">
                  <c:v>99.737793816962665</c:v>
                </c:pt>
                <c:pt idx="10">
                  <c:v>1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3</c:v>
                </c:pt>
                <c:pt idx="20">
                  <c:v>96.914286667894899</c:v>
                </c:pt>
                <c:pt idx="21">
                  <c:v>95.50197904546495</c:v>
                </c:pt>
                <c:pt idx="22">
                  <c:v>94.173769661336394</c:v>
                </c:pt>
                <c:pt idx="23">
                  <c:v>92.922652681862445</c:v>
                </c:pt>
                <c:pt idx="24">
                  <c:v>91.742241079294047</c:v>
                </c:pt>
                <c:pt idx="25">
                  <c:v>90.626713869082849</c:v>
                </c:pt>
                <c:pt idx="26">
                  <c:v>89.5707669005376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00</c:v>
                </c:pt>
                <c:pt idx="1">
                  <c:v>305.00</c:v>
                </c:pt>
                <c:pt idx="2">
                  <c:v>310.00</c:v>
                </c:pt>
                <c:pt idx="3">
                  <c:v>315.00</c:v>
                </c:pt>
                <c:pt idx="4">
                  <c:v>320.00</c:v>
                </c:pt>
                <c:pt idx="5">
                  <c:v>325.00</c:v>
                </c:pt>
                <c:pt idx="6">
                  <c:v>330.00</c:v>
                </c:pt>
                <c:pt idx="7">
                  <c:v>335.00</c:v>
                </c:pt>
                <c:pt idx="8">
                  <c:v>340.00</c:v>
                </c:pt>
                <c:pt idx="9">
                  <c:v>345.00</c:v>
                </c:pt>
                <c:pt idx="10">
                  <c:v>350.00</c:v>
                </c:pt>
                <c:pt idx="11">
                  <c:v>355.00</c:v>
                </c:pt>
                <c:pt idx="12">
                  <c:v>360.00</c:v>
                </c:pt>
                <c:pt idx="13">
                  <c:v>365.00</c:v>
                </c:pt>
                <c:pt idx="14">
                  <c:v>370.00</c:v>
                </c:pt>
                <c:pt idx="15">
                  <c:v>375.00</c:v>
                </c:pt>
                <c:pt idx="16">
                  <c:v>380.00</c:v>
                </c:pt>
                <c:pt idx="17">
                  <c:v>385.00</c:v>
                </c:pt>
                <c:pt idx="18">
                  <c:v>390.00</c:v>
                </c:pt>
                <c:pt idx="19">
                  <c:v>395.00</c:v>
                </c:pt>
                <c:pt idx="20">
                  <c:v>400.00</c:v>
                </c:pt>
                <c:pt idx="21">
                  <c:v>405.00</c:v>
                </c:pt>
                <c:pt idx="22">
                  <c:v>410.00</c:v>
                </c:pt>
                <c:pt idx="23">
                  <c:v>415.00</c:v>
                </c:pt>
                <c:pt idx="24">
                  <c:v>420.00</c:v>
                </c:pt>
                <c:pt idx="25">
                  <c:v>425.00</c:v>
                </c:pt>
                <c:pt idx="26">
                  <c:v>430.00</c:v>
                </c:pt>
              </c:strCache>
            </c:strRef>
          </c:cat>
          <c:val>
            <c:numRef>
              <c:f>Sheet1!$E$2:$E$28</c:f>
              <c:numCache>
                <c:formatCode>General</c:formatCode>
                <c:ptCount val="27"/>
                <c:pt idx="0">
                  <c:v>0.58082479936804476</c:v>
                </c:pt>
                <c:pt idx="1">
                  <c:v>0.58769652396856886</c:v>
                </c:pt>
                <c:pt idx="2">
                  <c:v>0.59434658003359186</c:v>
                </c:pt>
                <c:pt idx="3">
                  <c:v>0.60078552320766176</c:v>
                </c:pt>
                <c:pt idx="4">
                  <c:v>0.60702324940754204</c:v>
                </c:pt>
                <c:pt idx="5">
                  <c:v>0.61306904557050301</c:v>
                </c:pt>
                <c:pt idx="6">
                  <c:v>0.6189316357891318</c:v>
                </c:pt>
                <c:pt idx="7">
                  <c:v>0.62461922331466713</c:v>
                </c:pt>
                <c:pt idx="8">
                  <c:v>0.63013952885415714</c:v>
                </c:pt>
                <c:pt idx="9">
                  <c:v>0.63549982553743023</c:v>
                </c:pt>
                <c:pt idx="10">
                  <c:v>0.64070697088689577</c:v>
                </c:pt>
                <c:pt idx="11">
                  <c:v>0.64576743608567189</c:v>
                </c:pt>
                <c:pt idx="12">
                  <c:v>0.6506873328067041</c:v>
                </c:pt>
                <c:pt idx="13">
                  <c:v>0.65547243783674913</c:v>
                </c:pt>
                <c:pt idx="14">
                  <c:v>0.66012821570382008</c:v>
                </c:pt>
                <c:pt idx="15">
                  <c:v>0.66465983949443586</c:v>
                </c:pt>
                <c:pt idx="16">
                  <c:v>0.6690722100274038</c:v>
                </c:pt>
                <c:pt idx="17">
                  <c:v>0.67336997353354144</c:v>
                </c:pt>
                <c:pt idx="18">
                  <c:v>0.67755753797541907</c:v>
                </c:pt>
                <c:pt idx="19">
                  <c:v>0.68163908812762897</c:v>
                </c:pt>
                <c:pt idx="20">
                  <c:v>0.68561859952603355</c:v>
                </c:pt>
                <c:pt idx="21">
                  <c:v>0.68949985138373704</c:v>
                </c:pt>
                <c:pt idx="22">
                  <c:v>0.69328643856198402</c:v>
                </c:pt>
                <c:pt idx="23">
                  <c:v>0.69698178267569522</c:v>
                </c:pt>
                <c:pt idx="24">
                  <c:v>0.70058914240574632</c:v>
                </c:pt>
                <c:pt idx="25">
                  <c:v>0.70411162308332575</c:v>
                </c:pt>
                <c:pt idx="26">
                  <c:v>0.707552185605612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8.0410872705848652E-2</c:v>
                </c:pt>
                <c:pt idx="3">
                  <c:v>5.9305102276532601E-2</c:v>
                </c:pt>
                <c:pt idx="4">
                  <c:v>5.479773949219266E-2</c:v>
                </c:pt>
                <c:pt idx="5">
                  <c:v>4.8714948513657888E-2</c:v>
                </c:pt>
                <c:pt idx="6">
                  <c:v>4.0385119118589587E-2</c:v>
                </c:pt>
                <c:pt idx="7">
                  <c:v>3.9390498017542838E-2</c:v>
                </c:pt>
                <c:pt idx="8">
                  <c:v>3.8119627629995989E-2</c:v>
                </c:pt>
                <c:pt idx="9">
                  <c:v>2.99508551560922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89</c:v>
                </c:pt>
                <c:pt idx="2">
                  <c:v>8.1756075363954281E-2</c:v>
                </c:pt>
                <c:pt idx="3">
                  <c:v>7.3221389035908385E-2</c:v>
                </c:pt>
                <c:pt idx="4">
                  <c:v>4.6895753233203087E-2</c:v>
                </c:pt>
                <c:pt idx="5">
                  <c:v>4.5218094146846036E-2</c:v>
                </c:pt>
                <c:pt idx="6">
                  <c:v>3.893067674745989E-2</c:v>
                </c:pt>
                <c:pt idx="7">
                  <c:v>3.4120800943032499E-2</c:v>
                </c:pt>
                <c:pt idx="8">
                  <c:v>3.1990828051809667E-2</c:v>
                </c:pt>
                <c:pt idx="9">
                  <c:v>2.9003718843558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59</c:v>
                </c:pt>
                <c:pt idx="1">
                  <c:v>0.17920957930221726</c:v>
                </c:pt>
                <c:pt idx="2">
                  <c:v>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398</c:v>
                </c:pt>
                <c:pt idx="1">
                  <c:v>0.12913152071260323</c:v>
                </c:pt>
                <c:pt idx="2">
                  <c:v>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8.0866835930763908E-2</c:v>
                </c:pt>
                <c:pt idx="2">
                  <c:v>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
          <c:min val="12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c:v>
                </c:pt>
                <c:pt idx="8">
                  <c:v>96.392679261843497</c:v>
                </c:pt>
                <c:pt idx="9">
                  <c:v>93.079605771054304</c:v>
                </c:pt>
                <c:pt idx="10">
                  <c:v>92.153279996828658</c:v>
                </c:pt>
                <c:pt idx="11">
                  <c:v>91.241206504369288</c:v>
                </c:pt>
                <c:pt idx="12">
                  <c:v>90.343065498914783</c:v>
                </c:pt>
                <c:pt idx="13">
                  <c:v>89.458546262720546</c:v>
                </c:pt>
                <c:pt idx="14">
                  <c:v>88.587346870059008</c:v>
                </c:pt>
                <c:pt idx="15">
                  <c:v>84.613276736803641</c:v>
                </c:pt>
                <c:pt idx="16">
                  <c:v>81.220209513830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c:v>
                </c:pt>
                <c:pt idx="8">
                  <c:v>98.527531211517854</c:v>
                </c:pt>
                <c:pt idx="9">
                  <c:v>97.202664898433156</c:v>
                </c:pt>
                <c:pt idx="10">
                  <c:v>98.277293649159375</c:v>
                </c:pt>
                <c:pt idx="11">
                  <c:v>99.326262698281141</c:v>
                </c:pt>
                <c:pt idx="12">
                  <c:v>100.35017193578798</c:v>
                </c:pt>
                <c:pt idx="13">
                  <c:v>101.34960280157451</c:v>
                </c:pt>
                <c:pt idx="14">
                  <c:v>102.32511898226824</c:v>
                </c:pt>
                <c:pt idx="15">
                  <c:v>99.611472069762712</c:v>
                </c:pt>
                <c:pt idx="16">
                  <c:v>97.4181351563180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D$2:$D$18</c:f>
              <c:numCache>
                <c:formatCode>General</c:formatCode>
                <c:ptCount val="17"/>
                <c:pt idx="0">
                  <c:v>100.06556698228088</c:v>
                </c:pt>
                <c:pt idx="1">
                  <c:v>99.468649448645678</c:v>
                </c:pt>
                <c:pt idx="2">
                  <c:v>99.193621765831224</c:v>
                </c:pt>
                <c:pt idx="3">
                  <c:v>99.174768986009482</c:v>
                </c:pt>
                <c:pt idx="4">
                  <c:v>99.357655991313081</c:v>
                </c:pt>
                <c:pt idx="5">
                  <c:v>99.697994391932909</c:v>
                </c:pt>
                <c:pt idx="6">
                  <c:v>99.819660932659431</c:v>
                </c:pt>
                <c:pt idx="7">
                  <c:v>100</c:v>
                </c:pt>
                <c:pt idx="8">
                  <c:v>100.22362545240664</c:v>
                </c:pt>
                <c:pt idx="9">
                  <c:v>100.4781543720141</c:v>
                </c:pt>
                <c:pt idx="10">
                  <c:v>103.14065765834452</c:v>
                </c:pt>
                <c:pt idx="11">
                  <c:v>105.74604878728991</c:v>
                </c:pt>
                <c:pt idx="12">
                  <c:v>108.29564370647307</c:v>
                </c:pt>
                <c:pt idx="13">
                  <c:v>110.79071876645629</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00</c:v>
                </c:pt>
                <c:pt idx="1">
                  <c:v>195.00</c:v>
                </c:pt>
                <c:pt idx="2">
                  <c:v>200.00</c:v>
                </c:pt>
                <c:pt idx="3">
                  <c:v>205.00</c:v>
                </c:pt>
                <c:pt idx="4">
                  <c:v>210.00</c:v>
                </c:pt>
                <c:pt idx="5">
                  <c:v>215.00</c:v>
                </c:pt>
                <c:pt idx="6">
                  <c:v>220.00</c:v>
                </c:pt>
                <c:pt idx="7">
                  <c:v>225.00</c:v>
                </c:pt>
                <c:pt idx="8">
                  <c:v>230.00</c:v>
                </c:pt>
                <c:pt idx="9">
                  <c:v>235.00</c:v>
                </c:pt>
                <c:pt idx="10">
                  <c:v>240.00</c:v>
                </c:pt>
                <c:pt idx="11">
                  <c:v>245.00</c:v>
                </c:pt>
                <c:pt idx="12">
                  <c:v>250.00</c:v>
                </c:pt>
                <c:pt idx="13">
                  <c:v>255.00</c:v>
                </c:pt>
                <c:pt idx="14">
                  <c:v>260.00</c:v>
                </c:pt>
                <c:pt idx="15">
                  <c:v>265.00</c:v>
                </c:pt>
                <c:pt idx="16">
                  <c:v>270.00</c:v>
                </c:pt>
              </c:strCache>
            </c:strRef>
          </c:cat>
          <c:val>
            <c:numRef>
              <c:f>Sheet1!$E$2:$E$18</c:f>
              <c:numCache>
                <c:formatCode>General</c:formatCode>
                <c:ptCount val="17"/>
                <c:pt idx="0">
                  <c:v>0.47793645463309964</c:v>
                </c:pt>
                <c:pt idx="1">
                  <c:v>0.49132269938609702</c:v>
                </c:pt>
                <c:pt idx="2">
                  <c:v>0.50403963190144463</c:v>
                </c:pt>
                <c:pt idx="3">
                  <c:v>0.51613622624531186</c:v>
                </c:pt>
                <c:pt idx="4">
                  <c:v>0.52765679228709017</c:v>
                </c:pt>
                <c:pt idx="5">
                  <c:v>0.53864151804785554</c:v>
                </c:pt>
                <c:pt idx="6">
                  <c:v>0.54912693809222246</c:v>
                </c:pt>
                <c:pt idx="7">
                  <c:v>0.55914633946795089</c:v>
                </c:pt>
                <c:pt idx="8">
                  <c:v>0.5687301146969086</c:v>
                </c:pt>
                <c:pt idx="9">
                  <c:v>0.57790606970335734</c:v>
                </c:pt>
                <c:pt idx="10">
                  <c:v>0.58669969325120386</c:v>
                </c:pt>
                <c:pt idx="11">
                  <c:v>0.59513439338893448</c:v>
                </c:pt>
                <c:pt idx="12">
                  <c:v>0.6032317055211559</c:v>
                </c:pt>
                <c:pt idx="13">
                  <c:v>0.61101147600113292</c:v>
                </c:pt>
                <c:pt idx="14">
                  <c:v>0.61849202453957286</c:v>
                </c:pt>
                <c:pt idx="15">
                  <c:v>0.62569028822750539</c:v>
                </c:pt>
                <c:pt idx="16">
                  <c:v>0.63262194955662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7.0472059249526722E-2</c:v>
                </c:pt>
                <c:pt idx="1">
                  <c:v>5.1212700092170403E-2</c:v>
                </c:pt>
                <c:pt idx="2">
                  <c:v>4.7588426678773235E-2</c:v>
                </c:pt>
                <c:pt idx="3">
                  <c:v>3.9906790578383783E-2</c:v>
                </c:pt>
                <c:pt idx="4">
                  <c:v>3.7899155565645368E-2</c:v>
                </c:pt>
                <c:pt idx="5">
                  <c:v>3.4677919200486344E-2</c:v>
                </c:pt>
                <c:pt idx="6">
                  <c:v>3.1871251323390394E-2</c:v>
                </c:pt>
                <c:pt idx="7">
                  <c:v>2.944826925918876E-2</c:v>
                </c:pt>
                <c:pt idx="8">
                  <c:v>2.7032373648178492E-2</c:v>
                </c:pt>
                <c:pt idx="9">
                  <c:v>2.701304440777250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6.108853733989298E-2</c:v>
                </c:pt>
                <c:pt idx="1">
                  <c:v>5.3756058794814508E-2</c:v>
                </c:pt>
                <c:pt idx="2">
                  <c:v>4.4108810959853147E-2</c:v>
                </c:pt>
                <c:pt idx="3">
                  <c:v>4.3194774457873224E-2</c:v>
                </c:pt>
                <c:pt idx="4">
                  <c:v>3.7148538843962055E-2</c:v>
                </c:pt>
                <c:pt idx="5">
                  <c:v>3.2617024230081094E-2</c:v>
                </c:pt>
                <c:pt idx="6">
                  <c:v>2.737752793740782E-2</c:v>
                </c:pt>
                <c:pt idx="7">
                  <c:v>2.6962168066614459E-2</c:v>
                </c:pt>
                <c:pt idx="8">
                  <c:v>2.3170290996644249E-2</c:v>
                </c:pt>
                <c:pt idx="9">
                  <c:v>2.27618273970848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B$2:$B$12</c:f>
              <c:numCache>
                <c:formatCode>General</c:formatCode>
                <c:ptCount val="11"/>
                <c:pt idx="0">
                  <c:v>126.8078366354453</c:v>
                </c:pt>
                <c:pt idx="1">
                  <c:v>119.53338020799815</c:v>
                </c:pt>
                <c:pt idx="2">
                  <c:v>112.91315207126034</c:v>
                </c:pt>
                <c:pt idx="3">
                  <c:v>106.86872156049212</c:v>
                </c:pt>
                <c:pt idx="4">
                  <c:v>100</c:v>
                </c:pt>
                <c:pt idx="5">
                  <c:v>93.717901157856048</c:v>
                </c:pt>
                <c:pt idx="6">
                  <c:v>87.964659244899337</c:v>
                </c:pt>
                <c:pt idx="7">
                  <c:v>82.688218582258898</c:v>
                </c:pt>
                <c:pt idx="8">
                  <c:v>77.841817475065753</c:v>
                </c:pt>
                <c:pt idx="9">
                  <c:v>76.02683686967265</c:v>
                </c:pt>
                <c:pt idx="10">
                  <c:v>74.2801701031548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C$2:$C$12</c:f>
              <c:numCache>
                <c:formatCode>General</c:formatCode>
                <c:ptCount val="11"/>
                <c:pt idx="0">
                  <c:v>108.65265831087389</c:v>
                </c:pt>
                <c:pt idx="1">
                  <c:v>106.69231655953988</c:v>
                </c:pt>
                <c:pt idx="2">
                  <c:v>104.82059744139363</c:v>
                </c:pt>
                <c:pt idx="3">
                  <c:v>103.03175915293465</c:v>
                </c:pt>
                <c:pt idx="4">
                  <c:v>100</c:v>
                </c:pt>
                <c:pt idx="5">
                  <c:v>97.084966092545471</c:v>
                </c:pt>
                <c:pt idx="6">
                  <c:v>94.287301831285006</c:v>
                </c:pt>
                <c:pt idx="7">
                  <c:v>91.605820359775421</c:v>
                </c:pt>
                <c:pt idx="8">
                  <c:v>89.038024048780542</c:v>
                </c:pt>
                <c:pt idx="9">
                  <c:v>89.664266658654228</c:v>
                </c:pt>
                <c:pt idx="10">
                  <c:v>90.2444870402267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D$2:$D$12</c:f>
              <c:numCache>
                <c:formatCode>General</c:formatCode>
                <c:ptCount val="11"/>
                <c:pt idx="0">
                  <c:v>87.831526851250032</c:v>
                </c:pt>
                <c:pt idx="1">
                  <c:v>91.978083665485499</c:v>
                </c:pt>
                <c:pt idx="2">
                  <c:v>95.560368084843645</c:v>
                </c:pt>
                <c:pt idx="3">
                  <c:v>98.656791390597746</c:v>
                </c:pt>
                <c:pt idx="4">
                  <c:v>1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00</c:v>
                </c:pt>
                <c:pt idx="1">
                  <c:v>125.00</c:v>
                </c:pt>
                <c:pt idx="2">
                  <c:v>130.00</c:v>
                </c:pt>
                <c:pt idx="3">
                  <c:v>135.00</c:v>
                </c:pt>
                <c:pt idx="4">
                  <c:v>140.00</c:v>
                </c:pt>
                <c:pt idx="5">
                  <c:v>145.00</c:v>
                </c:pt>
                <c:pt idx="6">
                  <c:v>150.00</c:v>
                </c:pt>
                <c:pt idx="7">
                  <c:v>155.00</c:v>
                </c:pt>
                <c:pt idx="8">
                  <c:v>160.00</c:v>
                </c:pt>
                <c:pt idx="9">
                  <c:v>165.00</c:v>
                </c:pt>
                <c:pt idx="10">
                  <c:v>170.00</c:v>
                </c:pt>
              </c:strCache>
            </c:strRef>
          </c:cat>
          <c:val>
            <c:numRef>
              <c:f>Sheet1!$E$2:$E$12</c:f>
              <c:numCache>
                <c:formatCode>General</c:formatCode>
                <c:ptCount val="11"/>
                <c:pt idx="0">
                  <c:v>0.37557654610179375</c:v>
                </c:pt>
                <c:pt idx="1">
                  <c:v>0.40055348425772197</c:v>
                </c:pt>
                <c:pt idx="2">
                  <c:v>0.42360911947857888</c:v>
                </c:pt>
                <c:pt idx="3">
                  <c:v>0.44495692986826108</c:v>
                </c:pt>
                <c:pt idx="4">
                  <c:v>0.46477989665868025</c:v>
                </c:pt>
                <c:pt idx="5">
                  <c:v>0.48323576229113979</c:v>
                </c:pt>
                <c:pt idx="6">
                  <c:v>0.50046123688143496</c:v>
                </c:pt>
                <c:pt idx="7">
                  <c:v>0.5165753905304209</c:v>
                </c:pt>
                <c:pt idx="8">
                  <c:v>0.53168240957634527</c:v>
                </c:pt>
                <c:pt idx="9">
                  <c:v>0.54587385171039549</c:v>
                </c:pt>
                <c:pt idx="10">
                  <c:v>0.559230503130678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5.2764363981338075E-2</c:v>
                </c:pt>
                <c:pt idx="1">
                  <c:v>4.9731856387910521E-2</c:v>
                </c:pt>
                <c:pt idx="2">
                  <c:v>4.4384419559514603E-2</c:v>
                </c:pt>
                <c:pt idx="3">
                  <c:v>4.3933609726568471E-2</c:v>
                </c:pt>
                <c:pt idx="4">
                  <c:v>3.6193514916421567E-2</c:v>
                </c:pt>
                <c:pt idx="5">
                  <c:v>3.3643206292304072E-2</c:v>
                </c:pt>
                <c:pt idx="6">
                  <c:v>3.1211872174252794E-2</c:v>
                </c:pt>
                <c:pt idx="7">
                  <c:v>2.508882296671457E-2</c:v>
                </c:pt>
                <c:pt idx="8">
                  <c:v>2.2507596354897113E-2</c:v>
                </c:pt>
                <c:pt idx="9">
                  <c:v>2.20160883189938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4.4298274899283244E-2</c:v>
                </c:pt>
                <c:pt idx="1">
                  <c:v>4.3684856398885884E-2</c:v>
                </c:pt>
                <c:pt idx="2">
                  <c:v>4.2235871281141112E-2</c:v>
                </c:pt>
                <c:pt idx="3">
                  <c:v>3.3013805187850041E-2</c:v>
                </c:pt>
                <c:pt idx="4">
                  <c:v>3.0152443709170279E-2</c:v>
                </c:pt>
                <c:pt idx="5">
                  <c:v>2.8492416065854894E-2</c:v>
                </c:pt>
                <c:pt idx="6">
                  <c:v>2.8409628608619383E-2</c:v>
                </c:pt>
                <c:pt idx="7">
                  <c:v>2.6950863147058236E-2</c:v>
                </c:pt>
                <c:pt idx="8">
                  <c:v>2.3049543021255371E-2</c:v>
                </c:pt>
                <c:pt idx="9">
                  <c:v>2.29676570437666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78</c:v>
                </c:pt>
                <c:pt idx="1">
                  <c:v>0.31800728206539319</c:v>
                </c:pt>
                <c:pt idx="2">
                  <c:v>9.0028858900184555E-2</c:v>
                </c:pt>
                <c:pt idx="3">
                  <c:v>8.9244765056355188E-2</c:v>
                </c:pt>
                <c:pt idx="4">
                  <c:v>2.3815006873403259E-2</c:v>
                </c:pt>
                <c:pt idx="5">
                  <c:v>1.9273141062789715E-2</c:v>
                </c:pt>
                <c:pt idx="6">
                  <c:v>1.2094055220694773E-2</c:v>
                </c:pt>
                <c:pt idx="7">
                  <c:v>1.0430343104540026E-2</c:v>
                </c:pt>
                <c:pt idx="8">
                  <c:v>8.159248034810199E-3</c:v>
                </c:pt>
                <c:pt idx="9">
                  <c:v>5.12439490348850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c:v>
                </c:pt>
                <c:pt idx="6">
                  <c:v>99.019739976797396</c:v>
                </c:pt>
                <c:pt idx="7">
                  <c:v>98.05453047478143</c:v>
                </c:pt>
                <c:pt idx="8">
                  <c:v>97.104034592372201</c:v>
                </c:pt>
                <c:pt idx="9">
                  <c:v>96.167924790299423</c:v>
                </c:pt>
                <c:pt idx="10">
                  <c:v>92.451512584710258</c:v>
                </c:pt>
                <c:pt idx="11">
                  <c:v>89.259200013168225</c:v>
                </c:pt>
                <c:pt idx="12">
                  <c:v>86.466878583758188</c:v>
                </c:pt>
                <c:pt idx="13">
                  <c:v>85.314944825727295</c:v>
                </c:pt>
                <c:pt idx="14">
                  <c:v>84.195946857186968</c:v>
                </c:pt>
                <c:pt idx="15">
                  <c:v>83.1081177225045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1</c:v>
                </c:pt>
                <c:pt idx="5">
                  <c:v>100</c:v>
                </c:pt>
                <c:pt idx="6">
                  <c:v>101.07823658358923</c:v>
                </c:pt>
                <c:pt idx="7">
                  <c:v>102.13129670944205</c:v>
                </c:pt>
                <c:pt idx="8">
                  <c:v>103.15976693240225</c:v>
                </c:pt>
                <c:pt idx="9">
                  <c:v>104.16421564198524</c:v>
                </c:pt>
                <c:pt idx="10">
                  <c:v>102.06172030271161</c:v>
                </c:pt>
                <c:pt idx="11">
                  <c:v>100.39392249894563</c:v>
                </c:pt>
                <c:pt idx="12">
                  <c:v>99.051416553328579</c:v>
                </c:pt>
                <c:pt idx="13">
                  <c:v>99.505343014170435</c:v>
                </c:pt>
                <c:pt idx="14">
                  <c:v>99.950432312987274</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D$2:$D$17</c:f>
              <c:numCache>
                <c:formatCode>General</c:formatCode>
                <c:ptCount val="16"/>
                <c:pt idx="0">
                  <c:v>85.709647239606355</c:v>
                </c:pt>
                <c:pt idx="1">
                  <c:v>88.39750616911823</c:v>
                </c:pt>
                <c:pt idx="2">
                  <c:v>90.943872334067152</c:v>
                </c:pt>
                <c:pt idx="3">
                  <c:v>93.360247094964805</c:v>
                </c:pt>
                <c:pt idx="4">
                  <c:v>95.656271369732934</c:v>
                </c:pt>
                <c:pt idx="5">
                  <c:v>1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00</c:v>
                </c:pt>
                <c:pt idx="1">
                  <c:v>220.00</c:v>
                </c:pt>
                <c:pt idx="2">
                  <c:v>225.00</c:v>
                </c:pt>
                <c:pt idx="3">
                  <c:v>230.00</c:v>
                </c:pt>
                <c:pt idx="4">
                  <c:v>235.00</c:v>
                </c:pt>
                <c:pt idx="5">
                  <c:v>240.00</c:v>
                </c:pt>
                <c:pt idx="6">
                  <c:v>245.00</c:v>
                </c:pt>
                <c:pt idx="7">
                  <c:v>250.00</c:v>
                </c:pt>
                <c:pt idx="8">
                  <c:v>255.00</c:v>
                </c:pt>
                <c:pt idx="9">
                  <c:v>260.00</c:v>
                </c:pt>
                <c:pt idx="10">
                  <c:v>265.00</c:v>
                </c:pt>
                <c:pt idx="11">
                  <c:v>270.00</c:v>
                </c:pt>
                <c:pt idx="12">
                  <c:v>275.00</c:v>
                </c:pt>
                <c:pt idx="13">
                  <c:v>280.00</c:v>
                </c:pt>
                <c:pt idx="14">
                  <c:v>285.00</c:v>
                </c:pt>
                <c:pt idx="15">
                  <c:v>290.00</c:v>
                </c:pt>
              </c:strCache>
            </c:strRef>
          </c:cat>
          <c:val>
            <c:numRef>
              <c:f>Sheet1!$E$2:$E$17</c:f>
              <c:numCache>
                <c:formatCode>General</c:formatCode>
                <c:ptCount val="16"/>
                <c:pt idx="0">
                  <c:v>0.32360977340624586</c:v>
                </c:pt>
                <c:pt idx="1">
                  <c:v>0.33898227855610397</c:v>
                </c:pt>
                <c:pt idx="2">
                  <c:v>0.35367156125485733</c:v>
                </c:pt>
                <c:pt idx="3">
                  <c:v>0.36772217948844732</c:v>
                </c:pt>
                <c:pt idx="4">
                  <c:v>0.38117489907379959</c:v>
                </c:pt>
                <c:pt idx="5">
                  <c:v>0.3940670886764287</c:v>
                </c:pt>
                <c:pt idx="6">
                  <c:v>0.40643306645854244</c:v>
                </c:pt>
                <c:pt idx="7">
                  <c:v>0.41830440512937161</c:v>
                </c:pt>
                <c:pt idx="8">
                  <c:v>0.42971020110722691</c:v>
                </c:pt>
                <c:pt idx="9">
                  <c:v>0.44067731262439569</c:v>
                </c:pt>
                <c:pt idx="10">
                  <c:v>0.45123057087676571</c:v>
                </c:pt>
                <c:pt idx="11">
                  <c:v>0.46139296771238109</c:v>
                </c:pt>
                <c:pt idx="12">
                  <c:v>0.47118582284488325</c:v>
                </c:pt>
                <c:pt idx="13">
                  <c:v>0.48062893315122462</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5.9062020073172683E-2</c:v>
                </c:pt>
                <c:pt idx="1">
                  <c:v>4.8277308074521595E-2</c:v>
                </c:pt>
                <c:pt idx="2">
                  <c:v>3.9258660645578591E-2</c:v>
                </c:pt>
                <c:pt idx="3">
                  <c:v>3.8678190649149111E-2</c:v>
                </c:pt>
                <c:pt idx="4">
                  <c:v>3.4170669834212665E-2</c:v>
                </c:pt>
                <c:pt idx="5">
                  <c:v>3.3354372258553824E-2</c:v>
                </c:pt>
                <c:pt idx="6">
                  <c:v>3.1097474581553052E-2</c:v>
                </c:pt>
                <c:pt idx="7">
                  <c:v>2.6675311107309658E-2</c:v>
                </c:pt>
                <c:pt idx="8">
                  <c:v>2.2859280685047105E-2</c:v>
                </c:pt>
                <c:pt idx="9">
                  <c:v>2.28385273974110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5.3281690915798006E-2</c:v>
                </c:pt>
                <c:pt idx="1">
                  <c:v>4.7600570848031563E-2</c:v>
                </c:pt>
                <c:pt idx="2">
                  <c:v>4.5634874274071466E-2</c:v>
                </c:pt>
                <c:pt idx="3">
                  <c:v>4.4659060395581623E-2</c:v>
                </c:pt>
                <c:pt idx="4">
                  <c:v>4.0979267293356915E-2</c:v>
                </c:pt>
                <c:pt idx="5">
                  <c:v>3.4317081508409571E-2</c:v>
                </c:pt>
                <c:pt idx="6">
                  <c:v>3.341988816754294E-2</c:v>
                </c:pt>
                <c:pt idx="7">
                  <c:v>3.102634423658843E-2</c:v>
                </c:pt>
                <c:pt idx="8">
                  <c:v>3.0328134187354593E-2</c:v>
                </c:pt>
                <c:pt idx="9">
                  <c:v>2.65473500285137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27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B$2:$B$23</c:f>
              <c:numCache>
                <c:formatCode>General</c:formatCode>
                <c:ptCount val="22"/>
                <c:pt idx="0">
                  <c:v>136.19674613671583</c:v>
                </c:pt>
                <c:pt idx="1">
                  <c:v>130.87501308163908</c:v>
                </c:pt>
                <c:pt idx="2">
                  <c:v>128.63376339468161</c:v>
                </c:pt>
                <c:pt idx="3">
                  <c:v>126.47331266670352</c:v>
                </c:pt>
                <c:pt idx="4">
                  <c:v>124.38873094096215</c:v>
                </c:pt>
                <c:pt idx="5">
                  <c:v>115.02725433445184</c:v>
                </c:pt>
                <c:pt idx="6">
                  <c:v>107.53554318554828</c:v>
                </c:pt>
                <c:pt idx="7">
                  <c:v>104.69967810098177</c:v>
                </c:pt>
                <c:pt idx="8">
                  <c:v>102.21489451915269</c:v>
                </c:pt>
                <c:pt idx="9">
                  <c:v>100</c:v>
                </c:pt>
                <c:pt idx="10">
                  <c:v>97.396506909866545</c:v>
                </c:pt>
                <c:pt idx="11">
                  <c:v>95.059784688448815</c:v>
                </c:pt>
                <c:pt idx="12">
                  <c:v>92.942768891881371</c:v>
                </c:pt>
                <c:pt idx="13">
                  <c:v>91.008702020866011</c:v>
                </c:pt>
                <c:pt idx="14">
                  <c:v>89.570960984506129</c:v>
                </c:pt>
                <c:pt idx="15">
                  <c:v>88.189711710222426</c:v>
                </c:pt>
                <c:pt idx="16">
                  <c:v>86.860721583556838</c:v>
                </c:pt>
                <c:pt idx="17">
                  <c:v>85.597721358946828</c:v>
                </c:pt>
                <c:pt idx="18">
                  <c:v>84.40265397406381</c:v>
                </c:pt>
                <c:pt idx="19">
                  <c:v>83.267571062267379</c:v>
                </c:pt>
                <c:pt idx="20">
                  <c:v>82.185823380886504</c:v>
                </c:pt>
                <c:pt idx="21">
                  <c:v>81.1518223899112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c:v>
                </c:pt>
                <c:pt idx="10">
                  <c:v>98.938198591523161</c:v>
                </c:pt>
                <c:pt idx="11">
                  <c:v>98.069232128215972</c:v>
                </c:pt>
                <c:pt idx="12">
                  <c:v>97.356456298428924</c:v>
                </c:pt>
                <c:pt idx="13">
                  <c:v>96.771209879297686</c:v>
                </c:pt>
                <c:pt idx="14">
                  <c:v>96.660076908441582</c:v>
                </c:pt>
                <c:pt idx="15">
                  <c:v>96.56528875049645</c:v>
                </c:pt>
                <c:pt idx="16">
                  <c:v>96.484824955017189</c:v>
                </c:pt>
                <c:pt idx="17">
                  <c:v>96.437150406656187</c:v>
                </c:pt>
                <c:pt idx="18">
                  <c:v>96.427080306321685</c:v>
                </c:pt>
                <c:pt idx="19">
                  <c:v>96.448634041434843</c:v>
                </c:pt>
                <c:pt idx="20">
                  <c:v>96.496853290506891</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17</c:v>
                </c:pt>
                <c:pt idx="7">
                  <c:v>99.600731158306729</c:v>
                </c:pt>
                <c:pt idx="8">
                  <c:v>99.725926389749276</c:v>
                </c:pt>
                <c:pt idx="9">
                  <c:v>100</c:v>
                </c:pt>
                <c:pt idx="10">
                  <c:v>99.768145629979486</c:v>
                </c:pt>
                <c:pt idx="11">
                  <c:v>99.689262135752983</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00</c:v>
                </c:pt>
                <c:pt idx="1">
                  <c:v>275.00</c:v>
                </c:pt>
                <c:pt idx="2">
                  <c:v>280.00</c:v>
                </c:pt>
                <c:pt idx="3">
                  <c:v>285.00</c:v>
                </c:pt>
                <c:pt idx="4">
                  <c:v>290.00</c:v>
                </c:pt>
                <c:pt idx="5">
                  <c:v>295.00</c:v>
                </c:pt>
                <c:pt idx="6">
                  <c:v>300.00</c:v>
                </c:pt>
                <c:pt idx="7">
                  <c:v>305.00</c:v>
                </c:pt>
                <c:pt idx="8">
                  <c:v>310.00</c:v>
                </c:pt>
                <c:pt idx="9">
                  <c:v>315.00</c:v>
                </c:pt>
                <c:pt idx="10">
                  <c:v>320.00</c:v>
                </c:pt>
                <c:pt idx="11">
                  <c:v>325.00</c:v>
                </c:pt>
                <c:pt idx="12">
                  <c:v>330.00</c:v>
                </c:pt>
                <c:pt idx="13">
                  <c:v>335.00</c:v>
                </c:pt>
                <c:pt idx="14">
                  <c:v>340.00</c:v>
                </c:pt>
                <c:pt idx="15">
                  <c:v>345.00</c:v>
                </c:pt>
                <c:pt idx="16">
                  <c:v>350.00</c:v>
                </c:pt>
                <c:pt idx="17">
                  <c:v>355.00</c:v>
                </c:pt>
                <c:pt idx="18">
                  <c:v>360.00</c:v>
                </c:pt>
                <c:pt idx="19">
                  <c:v>365.00</c:v>
                </c:pt>
                <c:pt idx="20">
                  <c:v>370.00</c:v>
                </c:pt>
                <c:pt idx="21">
                  <c:v>375.00</c:v>
                </c:pt>
              </c:strCache>
            </c:strRef>
          </c:cat>
          <c:val>
            <c:numRef>
              <c:f>Sheet1!$E$2:$E$23</c:f>
              <c:numCache>
                <c:formatCode>General</c:formatCode>
                <c:ptCount val="22"/>
                <c:pt idx="0">
                  <c:v>0.59383660963484775</c:v>
                </c:pt>
                <c:pt idx="1">
                  <c:v>0.60122139855057766</c:v>
                </c:pt>
                <c:pt idx="2">
                  <c:v>0.60834244500503154</c:v>
                </c:pt>
                <c:pt idx="3">
                  <c:v>0.615213630180382</c:v>
                </c:pt>
                <c:pt idx="4">
                  <c:v>0.62184787793589247</c:v>
                </c:pt>
                <c:pt idx="5">
                  <c:v>0.62825723593697924</c:v>
                </c:pt>
                <c:pt idx="6">
                  <c:v>0.63445294867136282</c:v>
                </c:pt>
                <c:pt idx="7">
                  <c:v>0.64044552328330773</c:v>
                </c:pt>
                <c:pt idx="8">
                  <c:v>0.64624478903680294</c:v>
                </c:pt>
                <c:pt idx="9">
                  <c:v>0.65185995111558381</c:v>
                </c:pt>
                <c:pt idx="10">
                  <c:v>0.65729963937940283</c:v>
                </c:pt>
                <c:pt idx="11">
                  <c:v>0.66257195261971957</c:v>
                </c:pt>
                <c:pt idx="12">
                  <c:v>0.66768449879214808</c:v>
                </c:pt>
                <c:pt idx="13">
                  <c:v>0.67264443164599663</c:v>
                </c:pt>
                <c:pt idx="14">
                  <c:v>0.67745848412179088</c:v>
                </c:pt>
                <c:pt idx="15">
                  <c:v>0.68213299884466339</c:v>
                </c:pt>
                <c:pt idx="16">
                  <c:v>0.68667395600402537</c:v>
                </c:pt>
                <c:pt idx="17">
                  <c:v>0.69108699887720815</c:v>
                </c:pt>
                <c:pt idx="18">
                  <c:v>0.69537745722613575</c:v>
                </c:pt>
                <c:pt idx="19">
                  <c:v>0.6995503687709832</c:v>
                </c:pt>
                <c:pt idx="20">
                  <c:v>0.70361049892272665</c:v>
                </c:pt>
                <c:pt idx="21">
                  <c:v>0.70756235893709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7.3894621489417445E-2</c:v>
                </c:pt>
                <c:pt idx="1">
                  <c:v>7.1164539354463791E-2</c:v>
                </c:pt>
                <c:pt idx="2">
                  <c:v>6.6308165025153604E-2</c:v>
                </c:pt>
                <c:pt idx="3">
                  <c:v>5.2987866435689784E-2</c:v>
                </c:pt>
                <c:pt idx="4">
                  <c:v>4.7661351639088981E-2</c:v>
                </c:pt>
                <c:pt idx="5">
                  <c:v>4.1559366928670502E-2</c:v>
                </c:pt>
                <c:pt idx="6">
                  <c:v>3.7253138375241288E-2</c:v>
                </c:pt>
                <c:pt idx="7">
                  <c:v>3.6486956212887743E-2</c:v>
                </c:pt>
                <c:pt idx="8">
                  <c:v>3.637823815409167E-2</c:v>
                </c:pt>
                <c:pt idx="9">
                  <c:v>2.616017487054994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7.767901948428238E-2</c:v>
                </c:pt>
                <c:pt idx="1">
                  <c:v>7.6068382009974983E-2</c:v>
                </c:pt>
                <c:pt idx="2">
                  <c:v>6.8918856099938336E-2</c:v>
                </c:pt>
                <c:pt idx="3">
                  <c:v>5.5246898608649411E-2</c:v>
                </c:pt>
                <c:pt idx="4">
                  <c:v>4.7728252230611196E-2</c:v>
                </c:pt>
                <c:pt idx="5">
                  <c:v>4.5209248667947267E-2</c:v>
                </c:pt>
                <c:pt idx="6">
                  <c:v>4.3311940821714461E-2</c:v>
                </c:pt>
                <c:pt idx="7">
                  <c:v>3.8568931390535362E-2</c:v>
                </c:pt>
                <c:pt idx="8">
                  <c:v>3.3803525290957953E-2</c:v>
                </c:pt>
                <c:pt idx="9">
                  <c:v>2.97470689306578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9.8929481516618997E-2</c:v>
                </c:pt>
                <c:pt idx="2">
                  <c:v>0</c:v>
                </c:pt>
                <c:pt idx="3">
                  <c:v>-7.9843541017668426E-2</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en-US"/>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c:v>
                </c:pt>
                <c:pt idx="11">
                  <c:v>99.060902162436903</c:v>
                </c:pt>
                <c:pt idx="12">
                  <c:v>98.153317324976769</c:v>
                </c:pt>
                <c:pt idx="13">
                  <c:v>97.27495035316484</c:v>
                </c:pt>
                <c:pt idx="14">
                  <c:v>96.423764071548987</c:v>
                </c:pt>
                <c:pt idx="15">
                  <c:v>95.597942528359951</c:v>
                </c:pt>
                <c:pt idx="16">
                  <c:v>93.768995098201131</c:v>
                </c:pt>
                <c:pt idx="17">
                  <c:v>92.015645898233174</c:v>
                </c:pt>
                <c:pt idx="18">
                  <c:v>90.332937128172091</c:v>
                </c:pt>
                <c:pt idx="19">
                  <c:v>88.716345883153977</c:v>
                </c:pt>
                <c:pt idx="20">
                  <c:v>87.161737459650553</c:v>
                </c:pt>
                <c:pt idx="21">
                  <c:v>85.665324511324641</c:v>
                </c:pt>
                <c:pt idx="22">
                  <c:v>84.223631223817335</c:v>
                </c:pt>
                <c:pt idx="23">
                  <c:v>82.833461808622872</c:v>
                </c:pt>
                <c:pt idx="24">
                  <c:v>81.4918727247495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C$2:$C$26</c:f>
              <c:numCache>
                <c:formatCode>General</c:formatCode>
                <c:ptCount val="25"/>
                <c:pt idx="0">
                  <c:v>100.12798281993931</c:v>
                </c:pt>
                <c:pt idx="1">
                  <c:v>100.07785709226742</c:v>
                </c:pt>
                <c:pt idx="2">
                  <c:v>99.621359538173493</c:v>
                </c:pt>
                <c:pt idx="3">
                  <c:v>99.248315796895739</c:v>
                </c:pt>
                <c:pt idx="4">
                  <c:v>98.944764269953723</c:v>
                </c:pt>
                <c:pt idx="5">
                  <c:v>98.69955841508613</c:v>
                </c:pt>
                <c:pt idx="6">
                  <c:v>98.860507071279358</c:v>
                </c:pt>
                <c:pt idx="7">
                  <c:v>99.022180201736035</c:v>
                </c:pt>
                <c:pt idx="8">
                  <c:v>99.184060563502612</c:v>
                </c:pt>
                <c:pt idx="9">
                  <c:v>99.587751399361721</c:v>
                </c:pt>
                <c:pt idx="10">
                  <c:v>1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75</c:v>
                </c:pt>
                <c:pt idx="20">
                  <c:v>99.280375162615982</c:v>
                </c:pt>
                <c:pt idx="21">
                  <c:v>98.783102855103607</c:v>
                </c:pt>
                <c:pt idx="22">
                  <c:v>98.307182443090838</c:v>
                </c:pt>
                <c:pt idx="23">
                  <c:v>97.8511930866066</c:v>
                </c:pt>
                <c:pt idx="24">
                  <c:v>97.4138307789230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D$2:$D$26</c:f>
              <c:numCache>
                <c:formatCode>General</c:formatCode>
                <c:ptCount val="25"/>
                <c:pt idx="0">
                  <c:v>75.626751717794676</c:v>
                </c:pt>
                <c:pt idx="1">
                  <c:v>78.386431226022339</c:v>
                </c:pt>
                <c:pt idx="2">
                  <c:v>80.713943455847058</c:v>
                </c:pt>
                <c:pt idx="3">
                  <c:v>83.005798907603307</c:v>
                </c:pt>
                <c:pt idx="4">
                  <c:v>85.260992190125734</c:v>
                </c:pt>
                <c:pt idx="5">
                  <c:v>87.479003318868052</c:v>
                </c:pt>
                <c:pt idx="6">
                  <c:v>89.996728718018232</c:v>
                </c:pt>
                <c:pt idx="7">
                  <c:v>92.454463113491087</c:v>
                </c:pt>
                <c:pt idx="8">
                  <c:v>94.854345470644375</c:v>
                </c:pt>
                <c:pt idx="9">
                  <c:v>97.443952919984682</c:v>
                </c:pt>
                <c:pt idx="10">
                  <c:v>1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39</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00</c:v>
                </c:pt>
                <c:pt idx="1">
                  <c:v>315.00</c:v>
                </c:pt>
                <c:pt idx="2">
                  <c:v>320.00</c:v>
                </c:pt>
                <c:pt idx="3">
                  <c:v>325.00</c:v>
                </c:pt>
                <c:pt idx="4">
                  <c:v>330.00</c:v>
                </c:pt>
                <c:pt idx="5">
                  <c:v>335.00</c:v>
                </c:pt>
                <c:pt idx="6">
                  <c:v>340.00</c:v>
                </c:pt>
                <c:pt idx="7">
                  <c:v>345.00</c:v>
                </c:pt>
                <c:pt idx="8">
                  <c:v>350.00</c:v>
                </c:pt>
                <c:pt idx="9">
                  <c:v>355.00</c:v>
                </c:pt>
                <c:pt idx="10">
                  <c:v>360.00</c:v>
                </c:pt>
                <c:pt idx="11">
                  <c:v>365.00</c:v>
                </c:pt>
                <c:pt idx="12">
                  <c:v>370.00</c:v>
                </c:pt>
                <c:pt idx="13">
                  <c:v>375.00</c:v>
                </c:pt>
                <c:pt idx="14">
                  <c:v>380.00</c:v>
                </c:pt>
                <c:pt idx="15">
                  <c:v>385.00</c:v>
                </c:pt>
                <c:pt idx="16">
                  <c:v>390.00</c:v>
                </c:pt>
                <c:pt idx="17">
                  <c:v>395.00</c:v>
                </c:pt>
                <c:pt idx="18">
                  <c:v>400.00</c:v>
                </c:pt>
                <c:pt idx="19">
                  <c:v>405.00</c:v>
                </c:pt>
                <c:pt idx="20">
                  <c:v>410.00</c:v>
                </c:pt>
                <c:pt idx="21">
                  <c:v>415.00</c:v>
                </c:pt>
                <c:pt idx="22">
                  <c:v>420.00</c:v>
                </c:pt>
                <c:pt idx="23">
                  <c:v>425.00</c:v>
                </c:pt>
                <c:pt idx="24">
                  <c:v>430.00</c:v>
                </c:pt>
              </c:strCache>
            </c:strRef>
          </c:cat>
          <c:val>
            <c:numRef>
              <c:f>Sheet1!$E$2:$E$26</c:f>
              <c:numCache>
                <c:formatCode>General</c:formatCode>
                <c:ptCount val="25"/>
                <c:pt idx="0">
                  <c:v>0.30016686750972993</c:v>
                </c:pt>
                <c:pt idx="1">
                  <c:v>0.31127532993021051</c:v>
                </c:pt>
                <c:pt idx="2">
                  <c:v>0.32203665290005096</c:v>
                </c:pt>
                <c:pt idx="3">
                  <c:v>0.33246685824004979</c:v>
                </c:pt>
                <c:pt idx="4">
                  <c:v>0.34258099675156434</c:v>
                </c:pt>
                <c:pt idx="5">
                  <c:v>0.35239322068064549</c:v>
                </c:pt>
                <c:pt idx="6">
                  <c:v>0.36191684978828298</c:v>
                </c:pt>
                <c:pt idx="7">
                  <c:v>0.37116443167540936</c:v>
                </c:pt>
                <c:pt idx="8">
                  <c:v>0.38014779693718931</c:v>
                </c:pt>
                <c:pt idx="9">
                  <c:v>0.3888781096563837</c:v>
                </c:pt>
                <c:pt idx="10">
                  <c:v>0.39736591368893426</c:v>
                </c:pt>
                <c:pt idx="11">
                  <c:v>0.40562117514524992</c:v>
                </c:pt>
                <c:pt idx="12">
                  <c:v>0.41365332142707117</c:v>
                </c:pt>
                <c:pt idx="13">
                  <c:v>0.4214712771413765</c:v>
                </c:pt>
                <c:pt idx="14">
                  <c:v>0.42908349717899025</c:v>
                </c:pt>
                <c:pt idx="15">
                  <c:v>0.43649799721562665</c:v>
                </c:pt>
                <c:pt idx="16">
                  <c:v>0.44372238186670854</c:v>
                </c:pt>
                <c:pt idx="17">
                  <c:v>0.45076387070383861</c:v>
                </c:pt>
                <c:pt idx="18">
                  <c:v>0.45762932232004072</c:v>
                </c:pt>
                <c:pt idx="19">
                  <c:v>0.46432525661238594</c:v>
                </c:pt>
                <c:pt idx="20">
                  <c:v>0.47085787543418611</c:v>
                </c:pt>
                <c:pt idx="21">
                  <c:v>0.47723308175425611</c:v>
                </c:pt>
                <c:pt idx="22">
                  <c:v>0.48345649744765778</c:v>
                </c:pt>
                <c:pt idx="23">
                  <c:v>0.48953347983062678</c:v>
                </c:pt>
                <c:pt idx="24">
                  <c:v>0.49546913704189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en-US"/>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8.9873564987500432E-2</c:v>
                </c:pt>
                <c:pt idx="1">
                  <c:v>5.7010878297289229E-2</c:v>
                </c:pt>
                <c:pt idx="2">
                  <c:v>4.8270846143307906E-2</c:v>
                </c:pt>
                <c:pt idx="3">
                  <c:v>4.7535414315797796E-2</c:v>
                </c:pt>
                <c:pt idx="4">
                  <c:v>4.7257321280725295E-2</c:v>
                </c:pt>
                <c:pt idx="5">
                  <c:v>4.3924360468381808E-2</c:v>
                </c:pt>
                <c:pt idx="6">
                  <c:v>3.3438944419843658E-2</c:v>
                </c:pt>
                <c:pt idx="7">
                  <c:v>3.1372698233462094E-2</c:v>
                </c:pt>
                <c:pt idx="8">
                  <c:v>3.0236316496386584E-2</c:v>
                </c:pt>
                <c:pt idx="9">
                  <c:v>2.704941568409797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145.xml"/><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148.xml"/><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155.xml"/><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166.xml"/><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169.xml"/><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173.xml"/><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179.xml"/><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183.xml"/><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chart" Target="../charts/chart186.xml"/><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chart" Target="../charts/chart190.xml"/><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193.xml"/><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196.xml"/><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chart" Target="../charts/chart200.xml"/><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04.xml"/><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7.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chart" Target="../charts/chart117.xml"/><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23.xml"/><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27.xml"/><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38.xml"/><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41.xml"/><Relationship Id="rId2" Type="http://schemas.openxmlformats.org/officeDocument/2006/relationships/chart" Target="../charts/chart14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0DF55-0DD2-B4CE-03B6-7EB74E2024ED}"/>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4F0B223F-054F-4635-A3B5-A264E3E11F7A}"/>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A3871CAE-2A19-543A-0AEE-ECDF98E77FA9}"/>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E6D5F9DB-9037-A75F-C7D6-66EF07AA8F33}"/>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74398DE4-562A-06C6-D6B1-170AEC79FBF6}"/>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02402197-DFDE-2834-D55B-E93463DA0E4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C21898EC-442D-6960-E490-CF5AC3BDBC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55F09E54-38D1-9DD5-AB55-56D00FEF85A5}"/>
              </a:ext>
            </a:extLst>
          </p:cNvPr>
          <p:cNvSpPr>
            <a:spLocks noGrp="1"/>
          </p:cNvSpPr>
          <p:nvPr>
            <p:ph type="body" sz="quarter" idx="18"/>
          </p:nvPr>
        </p:nvSpPr>
        <p:spPr>
          <a:xfrm>
            <a:off x="503238" y="774000"/>
            <a:ext cx="8136762" cy="360000"/>
          </a:xfrm>
        </p:spPr>
        <p:txBody>
          <a:bodyPr/>
          <a:lstStyle/>
          <a:p>
            <a:pPr>
              <a:defRPr sz="1200"/>
            </a:pPr>
            <a:r>
              <a:t>Based on price change | by Brand | Manual Shave Men | Walmart</a:t>
            </a:r>
          </a:p>
        </p:txBody>
      </p:sp>
      <p:sp>
        <p:nvSpPr>
          <p:cNvPr id="3" name="Title 2">
            <a:extLst>
              <a:ext uri="{FF2B5EF4-FFF2-40B4-BE49-F238E27FC236}">
                <a16:creationId xmlns:a16="http://schemas.microsoft.com/office/drawing/2014/main" id="{EAC5A80F-159F-A0D9-8F1E-A92759DA45AF}"/>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FDB53B5-017E-44A4-8C94-89A6C14C91DA}"/>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92B2591B-EDF8-5D97-A4A3-D815CA3E6231}"/>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AC239421-7B71-5D29-562C-AA19CD11F99E}"/>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A0072389-39A6-1382-904C-A31161A62820}"/>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B36F37D8-506A-E246-5979-789CDEC57AFA}"/>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8C3C3375-4108-DEE6-0D18-9F51D2CF9838}"/>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B96E4ED6-1F15-D91B-DA63-2C9B8F710969}"/>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00F2A857-A074-BDB5-72AF-7D2020A5D419}"/>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4003EC68-4515-8580-95BB-4B781E794FDA}"/>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780FCE98-C204-730D-F14C-870C2FA760DA}"/>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78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F345C-A727-BCE4-DBB1-22452EBB09F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16D7A42-FD48-32B0-26E7-E416A8B86142}"/>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79E58E5-A931-9D48-8174-1B93A29DBF8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E9F81B0-16F4-AA67-711C-D402F4BA2B4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6A6FDEF-48F3-771C-56CA-B725E363539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6721FA2-5F1C-0377-D874-53305BD1944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a:extLst>
              <a:ext uri="{FF2B5EF4-FFF2-40B4-BE49-F238E27FC236}">
                <a16:creationId xmlns:a16="http://schemas.microsoft.com/office/drawing/2014/main" id="{100E8814-1946-EC03-9515-2DDF023077B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E27F244-9F0F-AAB5-D9C7-33400231CB6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EFEFA60-DB7A-0EF4-B76B-282A37F8996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5306393-1868-513A-68E6-0AA3C47C1B2E}"/>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751D07F5-A3E2-AD90-0509-3CEE4B3A69E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37044103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5DDE9-E4F7-E20A-05D0-280EDE4C7D8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BF155C6-1197-8569-E22C-BC2967F039F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A8CE354-9CC9-7FF9-B778-FDF3D7FB250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3E70F68B-5BBF-5F8D-88AC-4B68ECBED59A}"/>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499E176-FF60-D15E-1E1B-7B0B055190A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B182A50-9903-FE37-E69D-2E14BECD056E}"/>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E300381-F58E-F79C-FF65-6F78331F593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197F39B-D85F-4A80-78BA-2C0BE316EF51}"/>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F36E3B07-0DE3-5AE0-333C-D1BA28300A0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3" name="TextBox Y">
            <a:extLst>
              <a:ext uri="{FF2B5EF4-FFF2-40B4-BE49-F238E27FC236}">
                <a16:creationId xmlns:a16="http://schemas.microsoft.com/office/drawing/2014/main" id="{B2664907-8FB9-95A8-24E8-12A9C07AA3A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567517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2A492-D151-8575-A032-5429C574C4B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75DAFAC-092E-C6CF-1018-0F8B3D7766A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F9B9F61-5E24-35DF-D1F9-99F152F9880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60993C5-5949-718D-C9A3-576C704A48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CE2234D9-2C33-5F75-9602-D3E010B15BE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54FF3BA-8902-9BDA-ED12-319DB5A00B1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3A89239-E636-F5BD-9A29-74374A6A27E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C994554-35E1-5570-0D46-B579A21DEEC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DC299AE-C4CE-15DD-A2CD-45EC8539B08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34CA4DD-F0D7-DF52-5F1C-6232BB30BDF1}"/>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14FA0CF8-08A0-1D76-F457-C5A1D53D91E6}"/>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a:extLst>
              <a:ext uri="{FF2B5EF4-FFF2-40B4-BE49-F238E27FC236}">
                <a16:creationId xmlns:a16="http://schemas.microsoft.com/office/drawing/2014/main" id="{F407C250-0030-AB44-8408-20FE49AF54B8}"/>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7E887B9-F8D1-07E2-8B09-CA0FB3FF67FF}"/>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A6061BD-8BB5-D4C4-DA60-C20821AB9185}"/>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9F3B1EC3-2D74-203B-7980-707DF87A1C5D}"/>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61E73530-5153-8F45-363B-BEC520A19BB0}"/>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6B650BC2-061C-05E6-5A09-D84D117DA4B6}"/>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776E15B7-27C5-217D-AFB3-313EF04A4036}"/>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4FC00793-3508-4017-F6DB-357410D5E23F}"/>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55E6ACC5-933B-30DA-9F31-5EA1730019CA}"/>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4581260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26CDE-A7CD-7833-10FE-FAFE392D1C8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7DB24D1-6D22-FC06-35B6-9235510E6CE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A72C95E-7A58-AE62-7A53-A1BA0CD67C5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8C5EE0F-2A47-0194-5293-61ACEE030F9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F121658-0342-C71A-B550-734D459E653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AFC5ECB-1B35-95C5-F5CB-0234068BAFE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a:extLst>
              <a:ext uri="{FF2B5EF4-FFF2-40B4-BE49-F238E27FC236}">
                <a16:creationId xmlns:a16="http://schemas.microsoft.com/office/drawing/2014/main" id="{4765EDE6-F19E-4B98-4E45-7E15CA4A412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5063D4A-B65F-62CA-FEB2-94771F7A0FB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FE84C62-2F52-2030-DD7C-61D32A2939F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D924375-09E0-239D-0A8D-3419E6FCC04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EDFB104-4657-4EEF-856B-B177C7E09D65}"/>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3AEAF2F-F140-D831-5137-A2FD68769F6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1802077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FFB6F-E6E4-ED5B-533B-F390C1FA32F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C2C3AA2-1F22-CA94-7FE3-3F519A6BF9E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F769C23-81F5-7190-71B8-275F521E735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089BE5A-6874-B58A-0623-49305CA220F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890F5880-579E-9466-E304-A6EECD8A52C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2D57FF1-A902-1292-F03E-C09349C4FA2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D730F0F-9AB8-F73C-B543-569E13FA356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C4AAD17-9086-E141-267F-814AC3B3311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CFE54FA-35D1-EC3F-E705-5A3946DF27E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BE8D90E-350F-DA18-2AC5-9F1A06976A88}"/>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264B1107-4883-26E4-D875-480C8AA25253}"/>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a:extLst>
              <a:ext uri="{FF2B5EF4-FFF2-40B4-BE49-F238E27FC236}">
                <a16:creationId xmlns:a16="http://schemas.microsoft.com/office/drawing/2014/main" id="{488E3B06-6C81-7DD1-A593-54AF31B53DBC}"/>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127AB38-86CD-6703-D454-41E737D314E2}"/>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01C3BAA6-85A4-948B-233F-3373F95DC5EF}"/>
              </a:ext>
            </a:extLst>
          </p:cNvPr>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898199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6A006-9E8F-4091-AB1D-B0BE3A96455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93F66C6-70C7-4E6A-9C41-292549AC2F9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FCDCEDA-EF9D-E8E0-A777-9207DDB0EFF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BCF25BE-FA67-B921-37E8-87014735FA9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382E161-C79D-7E8A-27D3-D1ACB73AF41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9B04267-AD47-301E-ED00-9AA34A01D1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a:extLst>
              <a:ext uri="{FF2B5EF4-FFF2-40B4-BE49-F238E27FC236}">
                <a16:creationId xmlns:a16="http://schemas.microsoft.com/office/drawing/2014/main" id="{5731E372-9D2C-3D5C-5206-88639CC09D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028C737-A19E-2A66-9760-3DD5BC51A50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67FB653-D37E-DEBA-8030-7015309E545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B5A14A9-1F2A-404A-868C-8910821C806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AFBD903-E292-2315-F446-8C9604EEA9E0}"/>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6058D7DE-BE53-7714-BBAA-4A3AEFA600CD}"/>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38949989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6B2F3-7F4C-3DC5-6B3E-4CD1BBC1C54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936E78B-1316-2C6C-93EB-6B23A91E9F5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AF9B183-E178-267F-B880-E248EAC62DC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C07C934B-D5FC-0C4D-771F-DCE0579ACEC3}"/>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51704CC5-D69B-8B9F-7518-086F1BCDC32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76D8414-D87D-6C9B-E416-D942E9C87132}"/>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107B926-6F5C-B6CE-896E-190BD3A7612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5400C80-1D62-7AB6-6B70-636A0221B912}"/>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685FC842-9F89-EDA8-E0ED-584FA0BCAFD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3" name="TextBox Y">
            <a:extLst>
              <a:ext uri="{FF2B5EF4-FFF2-40B4-BE49-F238E27FC236}">
                <a16:creationId xmlns:a16="http://schemas.microsoft.com/office/drawing/2014/main" id="{923C5D18-0D31-8C2C-FD04-7B7A3870237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279057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7C652-9776-EF13-04EE-E5F679EF5A6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EE024DE-8371-0506-A5E7-D855D76E59D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742BCB8-60BA-9BCD-7FE4-D4352AE3565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518C4D7-F894-6878-1358-CFB0CEA98A1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BF8D5FE7-20FE-D076-41F9-6EBDA900D48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EDED4D2-2F5B-7382-3DD0-0AA99A69152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1A41296-F5D8-8963-3469-2AF58B0D12D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32810EC-3544-AEAB-7E33-A1AA96B1D76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B7ADFEB-40A3-4A53-8093-D52B0855698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40B5097-4868-DFD0-20F8-78AC77B9E9AD}"/>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3010F28A-E53B-95BC-404C-35F3D3A6AC42}"/>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a:extLst>
              <a:ext uri="{FF2B5EF4-FFF2-40B4-BE49-F238E27FC236}">
                <a16:creationId xmlns:a16="http://schemas.microsoft.com/office/drawing/2014/main" id="{4C5C7620-ECF0-6D25-7010-8EDEB72CB9D3}"/>
              </a:ext>
            </a:extLst>
          </p:cNvPr>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011E571-2E27-38F1-4143-F543F90B8CC6}"/>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A2E8628-B340-AE9D-AA80-16AEBB30EBD9}"/>
              </a:ext>
            </a:extLst>
          </p:cNvPr>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39A1F3F-C150-A8F3-AC69-60D69327A4E8}"/>
              </a:ext>
            </a:extLst>
          </p:cNvPr>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D73B755C-30C7-F143-9CBD-EFA09BC0B6FC}"/>
              </a:ext>
            </a:extLst>
          </p:cNvPr>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4810083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2681A-7D07-3F4E-524D-420C1C6EA56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FFF552C-EEC1-17B1-0EE5-CBD3EF4F4DC0}"/>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9F4F4C1-568E-CD8C-B151-38C47F71553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E9D2B07-604C-3101-55C8-05BFEFFDE6A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AC92501-B173-C506-2BA6-EDEB75AB53C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F902F6B-75B8-9396-288B-0A6AE947E4A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a:extLst>
              <a:ext uri="{FF2B5EF4-FFF2-40B4-BE49-F238E27FC236}">
                <a16:creationId xmlns:a16="http://schemas.microsoft.com/office/drawing/2014/main" id="{E94B5C84-A5BC-CECE-1A97-8F049FA8F0E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1B9EE9C-C209-ED5C-F283-DBB07D0971F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9FD078A-42DB-C4BE-7909-0064933764D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C785B23-8BEB-A2A0-E798-8F96EF3EF9C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9F426CD-536B-B32D-A394-96237457A144}"/>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5317FDA-B3EF-1470-9D40-7715A722F752}"/>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9564939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677A7-519F-7936-219E-F74FE7E9C86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A62AE41-B087-CB1A-A89E-E014B8DBADF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A4AEF73-1ADE-9B0D-106E-63251421F1B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397AFA41-4E54-3F73-FB36-A4D0C2165C4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DD14F5C0-43B8-4B30-E4CE-F61C51A655A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2E76839-ABB3-5125-4F34-6E22423FC7F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D229B00-ED04-7D3B-1E19-80544AE692E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2240157-9556-AF7D-D39C-B87D4BB688B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B1D900A-84B4-8CCA-379A-C20DB55021A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3E81BA9-E40A-0E26-625F-6D4A2C589F9C}"/>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480D77E8-6B07-D36D-853A-8A5AE1F3BFF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a:extLst>
              <a:ext uri="{FF2B5EF4-FFF2-40B4-BE49-F238E27FC236}">
                <a16:creationId xmlns:a16="http://schemas.microsoft.com/office/drawing/2014/main" id="{6B102CDD-AFC4-8145-99C2-CF607B5134F4}"/>
              </a:ext>
            </a:extLst>
          </p:cNvPr>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55AD213-3949-230F-9AFC-9ABA02BFCCB7}"/>
              </a:ext>
            </a:extLst>
          </p:cNvPr>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3936504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5D2969-9646-DEB4-5243-3FA6F94EBFC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726680E-D5AB-CEFC-263D-E2E8F2D90A2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AD9AB0E-0706-9FF8-3FE4-EF948AC7379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A25D330-5C7E-DE00-0BAF-C5A85456AD0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502E3A7-0095-E16F-96ED-7A7793F7273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F30850F-2C56-D7B8-EBCC-EED0C6BB5BF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a:extLst>
              <a:ext uri="{FF2B5EF4-FFF2-40B4-BE49-F238E27FC236}">
                <a16:creationId xmlns:a16="http://schemas.microsoft.com/office/drawing/2014/main" id="{9F29A377-8E5A-30CF-12F0-76D0957AF76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8D8BA01-F69F-48F6-DB30-295CEC9BF03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DAD21F8-F317-B0B6-E978-01EC9632455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CEFEDD4-DC34-064C-5C72-28097DB23E7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32D7F60-F588-2023-6AFF-8D73EF8DF14F}"/>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1C39BF60-C715-31A1-DDFC-4CCCC4C5299F}"/>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944706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94FFD-340D-BE85-6491-AD84C210F69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A513F6C-3196-0333-583C-1B6C5DD5301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0608428-C78A-C1BC-37DA-40132CB73501}"/>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F377FB6-11E4-8005-186E-8F7FE242A9B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1B1D56C-9633-A8B4-AB9D-1FF5C10E2DE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E411AD5-652F-3E46-3A03-B2EE1DC06A9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a:extLst>
              <a:ext uri="{FF2B5EF4-FFF2-40B4-BE49-F238E27FC236}">
                <a16:creationId xmlns:a16="http://schemas.microsoft.com/office/drawing/2014/main" id="{DD53D6E8-50E2-AD36-377C-05044F61250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98C5722-6E38-B690-C57E-30E2F2B3976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CDF817D-0B6D-D57A-FCB8-85D047FFD41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6EA02CB-2110-D700-921E-3CB76B54181A}"/>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70ED9590-BA85-ACF7-B5B3-55E877815702}"/>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0004118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7FBDB-D7F7-D92E-B33A-E43E2CEC992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A6DEB55-C864-D7D3-7627-FD52929F90B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CDC96D5-8705-C0B6-1EE1-7C70AFBEEA9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915332AA-FC76-F0BF-5994-C788559727E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72AC33D5-8CF2-CE75-F9ED-DCD0C4CDC8A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E00A9CB-DF0C-38F4-1EBF-AE7EDE01A31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C9C021F-D4E3-1AC3-F2AD-C83B66576FE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8A7D09F-2BAE-679F-126B-B1F4A3B790D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35F5917-DA50-6D64-B4DF-06C41D41AF5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354D406-9B18-CB25-3A54-8D93829ED12B}"/>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7A5B0496-3D4F-4115-B514-9FFAC7FA50AD}"/>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a:extLst>
              <a:ext uri="{FF2B5EF4-FFF2-40B4-BE49-F238E27FC236}">
                <a16:creationId xmlns:a16="http://schemas.microsoft.com/office/drawing/2014/main" id="{30771932-ED91-43C5-EE6E-74A9E76CD3C1}"/>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5131AFFF-14C0-B1F6-631A-C828D7AADA2D}"/>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DB51A75D-B7F3-9F72-442F-0BD237184400}"/>
              </a:ext>
            </a:extLst>
          </p:cNvPr>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A413FE0A-4DBD-924E-D899-411B5D1B7B48}"/>
              </a:ext>
            </a:extLst>
          </p:cNvPr>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A0EDD996-1AEA-8BE6-A3AE-A22A5078F57E}"/>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95B8317A-2886-40A0-E667-C4B47AFEB9B3}"/>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F7E89BCE-F80D-4FE5-B830-FC1AB441C1C2}"/>
              </a:ext>
            </a:extLst>
          </p:cNvPr>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0229477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DA318-5956-1307-A6B1-088E4552036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10BCCF1-1B71-B6FE-C2DD-0307939D698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9BD968E-9719-C778-F88B-17B4F9B478D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CA33C82-F97E-0EC0-A78A-F0CFC55E94B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3390742-0145-B83A-46A8-3800E835780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EC7DB2A-60D7-4432-F73D-E0E5DED8259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a:extLst>
              <a:ext uri="{FF2B5EF4-FFF2-40B4-BE49-F238E27FC236}">
                <a16:creationId xmlns:a16="http://schemas.microsoft.com/office/drawing/2014/main" id="{15389320-7422-D376-BA48-36EE8C3D0D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7311C06-DA92-85D8-2099-A5119B1F4FD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376293F-B115-2A3D-A347-AE8A839AE10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E5D0EB7-AECC-2424-B3AC-A0DB3662C17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27F194E-DAD9-53ED-2CC6-BCB418D1596F}"/>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CAD3692-BD58-65FA-E5AE-14B36B9072BC}"/>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8309974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F9FF9-FDC9-728C-5E41-A301A261371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82B0156-5821-2B55-FAC0-FB4357CECFD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9A4A9CA-271A-8112-D72F-419C4E1CABF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4CCDBFD7-9625-6AB0-ABBF-36CFF055EC36}"/>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4A76E58C-1476-A1B9-DA35-FB553496F01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1D7D653-30DE-6D5A-214D-21A9E1A10920}"/>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72F5DA0-CEBA-1A5C-7516-45BAD8CA169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2229A61-6162-097B-0E3D-447CD5AC5251}"/>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9FEF8A82-0087-F50D-1A31-CAD093577A45}"/>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3" name="TextBox Y">
            <a:extLst>
              <a:ext uri="{FF2B5EF4-FFF2-40B4-BE49-F238E27FC236}">
                <a16:creationId xmlns:a16="http://schemas.microsoft.com/office/drawing/2014/main" id="{466E2006-7DEA-59FE-AB5E-23BBF0C06E5A}"/>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604684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82A4C-2831-64B1-9A52-38BE53DE278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C1DFAD5-DFF2-756D-8DDB-62E925D6FAD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3A12BF7-A7F1-2FAD-0FCD-3EA362999D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F29944C-087F-585C-BB77-2C6ECDA9C47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2F6E6598-6A4C-8D69-A746-B745E97D937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96FC6CB-1840-5EA9-7CB5-7A8C4B94890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1907633-0607-D362-1005-41727A792F5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FD0682A-9D09-ACC0-6DC4-09E969F1897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3911933-66F3-2732-598F-580250D9257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65E8508-6A50-9B14-AB13-E027319BF8F1}"/>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285BF0A-0938-E72D-8F48-C64250E02123}"/>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a:extLst>
              <a:ext uri="{FF2B5EF4-FFF2-40B4-BE49-F238E27FC236}">
                <a16:creationId xmlns:a16="http://schemas.microsoft.com/office/drawing/2014/main" id="{1F6434A4-B00F-8E14-0ACE-4C1BFCA3E5AB}"/>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98A7DA4-B045-0C13-41C1-0425EE6371D8}"/>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4BBE1EA7-3310-18E9-E782-32A69CFA56ED}"/>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4350D33-0A6F-231D-3759-811A3E6564DB}"/>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5745AA38-C7A2-7B30-452F-99F4149B4E90}"/>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6740020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B5D14-E3F9-79AA-38A9-35C5E9CA203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755320D-8111-466E-EC4D-A5E1BE7DB2C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6AD2BF0-47DB-389A-8560-D3662D96124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4F18EF7-7BAB-B0C5-FF4E-A269E198BB5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45BCC16-BB2E-8F3E-E890-1F87920ACA0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3E363459-240C-F4FD-DBEE-B1FA9281F5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a:extLst>
              <a:ext uri="{FF2B5EF4-FFF2-40B4-BE49-F238E27FC236}">
                <a16:creationId xmlns:a16="http://schemas.microsoft.com/office/drawing/2014/main" id="{9EF10820-CFE4-902B-95A4-769B2956DCC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0FB1D45-E7D4-F449-67BE-634C0337C0D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B9D20B0-2D77-349C-6A60-8359FF797AD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37A921D-CDD4-72FF-9040-05843DB5B76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905AC33-5C5B-8505-0015-E79A4846F819}"/>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6B0F1142-700D-B098-6395-725B16D246CB}"/>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86456559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ECEC0-D047-F6E8-F0BB-ED2539058BF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D6A60B3-75E2-8679-0F58-36806A25B9E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687D207-12C2-57C6-FFD9-4EAE73E3632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643583EE-9E56-5B57-CBAE-BBF195350579}"/>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C91EA439-F40B-8799-8019-12D7ED08E4C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20D3085-32BE-8DF8-6139-206C9285CC41}"/>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95D43EC-379E-D985-1C9A-7A12C29B2E3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E66310A-FEF8-B296-3391-F9209C8D2A9E}"/>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4CBC8E83-6718-D353-67E6-FE1C4E1CE1DA}"/>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3" name="TextBox Y">
            <a:extLst>
              <a:ext uri="{FF2B5EF4-FFF2-40B4-BE49-F238E27FC236}">
                <a16:creationId xmlns:a16="http://schemas.microsoft.com/office/drawing/2014/main" id="{D8C1922A-CAA2-2DD2-6A71-F98A3FED6A9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965164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E8A10-4434-8E30-094A-FC88AAA05B5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27A4FE1-0C18-E694-7C6B-E52EF84754A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FAB8D9A-7765-454D-5D15-6F03317FC45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E39F666-83FB-2539-197B-2C1650CFC9D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395C64EA-BBC2-5215-9F32-40954927032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DAC3160-40F3-4ED8-54C9-F988539D9C0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2E47EEE-4296-537C-96EA-33AEA48DF65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EEAE8D5-84B1-57BB-2D14-9A8FD469F39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4596994-8B3A-3901-C14E-B11A1D01861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0EAA6E0-5A64-C9CA-D8DE-E5C5D0220C6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DCDACE9-2C5E-4E37-95E9-F4F45D679BC1}"/>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a:extLst>
              <a:ext uri="{FF2B5EF4-FFF2-40B4-BE49-F238E27FC236}">
                <a16:creationId xmlns:a16="http://schemas.microsoft.com/office/drawing/2014/main" id="{94FA22ED-4B60-58A5-B61B-2EF8B3F4BFA6}"/>
              </a:ext>
            </a:extLst>
          </p:cNvPr>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63FD5601-1ACE-02EF-1939-C04E334FA09C}"/>
              </a:ext>
            </a:extLst>
          </p:cNvPr>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200A7B07-D4E3-6ED4-988E-468398647850}"/>
              </a:ext>
            </a:extLst>
          </p:cNvPr>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97FD7709-6199-0C47-05AB-0DA38D0DABFE}"/>
              </a:ext>
            </a:extLst>
          </p:cNvPr>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B370B353-9435-D800-2427-48E93E584D2E}"/>
              </a:ext>
            </a:extLst>
          </p:cNvPr>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FAA76716-A392-DA07-71E7-7A6879FB6C7F}"/>
              </a:ext>
            </a:extLst>
          </p:cNvPr>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BD257F82-4086-83D1-AC20-0CA83C876B23}"/>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0628266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16C34-350F-85EC-82DC-E170F917516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3FCD77D-F15B-8264-3398-E3C066DC906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BCC3F1E-81A2-B052-9160-6A585097EBB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A9370C9-CD59-814B-7326-2C65B5B9C70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3DC590B-B8E5-FCCD-48DC-C3D9F6A11F6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5EC436D-1279-0E19-DE97-E272C820708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a:extLst>
              <a:ext uri="{FF2B5EF4-FFF2-40B4-BE49-F238E27FC236}">
                <a16:creationId xmlns:a16="http://schemas.microsoft.com/office/drawing/2014/main" id="{F3FEF455-1349-747B-7DE3-0824A3AEAE5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43BFA5D-2344-0DFB-8648-A8D69391EDF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9594939-3D33-7593-329C-D9AF198C699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6E56190-1AAF-644D-A46A-11EA1D9A113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F0FC87F-84D4-9031-BE20-1DE722D7C669}"/>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057B2CED-AE4D-1F28-D12F-42D40BCAACD7}"/>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11578869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9995E-116E-C7B0-24B2-06B3E083695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3C39C0C-63F5-C8A3-4600-E2B2BA1CBAB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7E15CB4-227C-A44D-4A91-0671910A851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14F2FC1-011D-69E9-6A82-49E940C8FBD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A18EE4EA-8FE0-BA04-25E6-E0E1C912DB1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B1265DD-C40F-A7C0-BE25-F9A0952B5E1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EE20860-9040-F484-2869-71D3314AB4B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F82F59B-AD5B-90E8-3E07-2CD8FBA6EF2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B4C2431-DA00-6980-0037-4AB66E3D63D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502F1B9-1C5E-254C-FE8E-4DB25BAB51EF}"/>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477330D4-B6E2-66E3-75A0-68158D466BD5}"/>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a:extLst>
              <a:ext uri="{FF2B5EF4-FFF2-40B4-BE49-F238E27FC236}">
                <a16:creationId xmlns:a16="http://schemas.microsoft.com/office/drawing/2014/main" id="{F2C80888-3DBC-9D81-D953-319098B599CA}"/>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70D9FB3-CD45-C0C2-DADB-3F449CE9A943}"/>
              </a:ext>
            </a:extLst>
          </p:cNvPr>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9A6FACC-FEE5-56A9-9DB7-8E23C03C0EE9}"/>
              </a:ext>
            </a:extLst>
          </p:cNvPr>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3DC2A232-FEC2-B9D6-238F-C9DDE2B297AC}"/>
              </a:ext>
            </a:extLst>
          </p:cNvPr>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150825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9DD83-8586-14F6-FFCB-343A52DF6E8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2B93FA9-0E69-7408-CC8C-D89A5277E9A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56EE70A-1FF0-0C2C-A80E-F94D4578331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B37E5E9-5731-564D-65C7-14FA7BF2CFF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9B24E0F-2E01-F6AA-D598-FBDDA1D2B38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D60A4D96-1785-36E2-FC08-7B084386383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a:extLst>
              <a:ext uri="{FF2B5EF4-FFF2-40B4-BE49-F238E27FC236}">
                <a16:creationId xmlns:a16="http://schemas.microsoft.com/office/drawing/2014/main" id="{F2C15DD3-6751-5554-7F63-890B46ED550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3D094A1-EAD1-11CA-8493-4AA4D87E061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F79C086-CBD2-BFD8-3288-2C637829665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F97CF0F-A790-5F0B-795C-37112A11218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660F1AE-856A-C617-80D4-14F5EF0E8F21}"/>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7F1E3D99-A204-4089-1610-EF3D40F54287}"/>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681767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EFCE5-C96B-49FE-72FF-0604AF3E06A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37CC8CF-9CB4-6638-FF8A-94B280E0464C}"/>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B96F94F-0C0C-F50A-3551-0250852D5B0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178E7D9-8BD7-11EF-AAC7-82FB21E6A00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6B08A1C-472B-7454-8DD6-5E4264D7FBB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A008430D-227A-7F15-5179-D536FFAC996D}"/>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a:extLst>
              <a:ext uri="{FF2B5EF4-FFF2-40B4-BE49-F238E27FC236}">
                <a16:creationId xmlns:a16="http://schemas.microsoft.com/office/drawing/2014/main" id="{F84FCD3B-0DA9-92C8-0705-660C0CF8F21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3F32968-9D7E-5E39-DE95-F60ED91B1AC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9257173-5EB9-54F3-1619-6250BFDE602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170333A-742B-CC37-1A59-7AB468334B24}"/>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27CDC50F-DBF4-78AD-1500-D8E0D1288D0A}"/>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3128642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4CB44-3038-3976-5173-C39B7A12F1D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A64B381-2893-F25D-D2CD-C4DDC2279BE1}"/>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A852C48-1851-0A9B-3030-5A4CCB86638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0C057E5D-1C49-60DA-5C18-7B3EC5F696D8}"/>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255641B6-F07D-9F15-B64D-4FE41C8F6A2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87466DA-A3D8-6515-74AE-F4B0B9B291EF}"/>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54D25DF-6F1D-2653-F205-9F98B816C49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7CB46A6-C0BF-C1F5-1E2F-657E82797FBB}"/>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9F5CD443-F15D-18D9-71AC-1C403F9E3505}"/>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3" name="TextBox Y">
            <a:extLst>
              <a:ext uri="{FF2B5EF4-FFF2-40B4-BE49-F238E27FC236}">
                <a16:creationId xmlns:a16="http://schemas.microsoft.com/office/drawing/2014/main" id="{CD297C5D-1B07-C48E-9C15-822E8A0713E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359215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76CB0-6902-6B27-922D-7A8AF1BBD22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8690324-ABB1-378A-3585-102B8DBAD74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C2FA356-8EEB-CE3B-8880-1180B0A9179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AD13D90D-59A9-6879-0126-15B47E5DD7E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6809536B-76F5-DCE6-D8EA-2430CD29F5A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256F30B-D53E-92D6-AFD6-2DE13DFE506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07378F0-54AA-B2C1-D380-DD01B607373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0FF3B8A-4391-3F06-B621-C6B85DD4965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2C8FFA8-8468-C9B4-ADAD-4A07B0C07D5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04F4E67-1A0F-7022-64DD-7C195AE2DA2A}"/>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63EA1C47-90CA-EA51-9A49-4C03A8C5A3EC}"/>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a:extLst>
              <a:ext uri="{FF2B5EF4-FFF2-40B4-BE49-F238E27FC236}">
                <a16:creationId xmlns:a16="http://schemas.microsoft.com/office/drawing/2014/main" id="{176B17E1-B6C9-BDBF-D43F-05FC5D551D10}"/>
              </a:ext>
            </a:extLst>
          </p:cNvPr>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9E9E28E-494A-4406-6F9A-54EDC517A986}"/>
              </a:ext>
            </a:extLst>
          </p:cNvPr>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CC05CE6E-2AC2-8685-5E1A-A0DE2E5B8DF2}"/>
              </a:ext>
            </a:extLst>
          </p:cNvPr>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B77D73D7-C12E-7E09-8C40-F4F0EED62342}"/>
              </a:ext>
            </a:extLst>
          </p:cNvPr>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57D0A6F1-D884-48BE-3974-3CA0B316058A}"/>
              </a:ext>
            </a:extLst>
          </p:cNvPr>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18198613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A2BD1-121A-E52F-CA34-17BD2CB4671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4C80354-22F2-20CA-AF6C-F3D41B6DAF09}"/>
              </a:ext>
            </a:extLst>
          </p:cNvPr>
          <p:cNvGraphicFramePr>
            <a:graphicFrameLocks noGrp="1"/>
          </p:cNvGraphicFramePr>
          <p:nvPr/>
        </p:nvGraphicFramePr>
        <p:xfrm>
          <a:off x="535405" y="1133206"/>
          <a:ext cx="3996001" cy="371578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0978DDF-5846-C524-F5C2-FB191FE5A92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1E35010-DEB0-A337-68F8-E42B442762F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24D2978-0B71-79C4-F499-BFB427E99CD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0489EF4-24AA-E358-9A0F-325899CA0E1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a:extLst>
              <a:ext uri="{FF2B5EF4-FFF2-40B4-BE49-F238E27FC236}">
                <a16:creationId xmlns:a16="http://schemas.microsoft.com/office/drawing/2014/main" id="{AACE8E96-CBAC-0062-6E26-D26DCE305A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8185608-5BC8-4012-7942-322910C683A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4F4F708-471B-508A-B0E7-6E7FB8ACC8D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C760B37-591D-C3F6-C601-F647328F805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0EC313B-35C4-FF88-C3E1-7D9FE1DB5824}"/>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D497CAE9-5F66-6729-8398-AD1B2F9EDB68}"/>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8437507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1BC0A2-A1C8-E840-660D-6B72A9D9C42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DED1A44-3F94-DEF5-CB0F-FA7D8A3D9F0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D70C9DE-CAE3-B419-D467-4A4BA48215A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C8B4534-834D-0D21-783D-4459F0502AA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897A8A1F-A5E6-2681-F268-A919A0C87A5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C3B5BBD-A84A-23BF-9087-FC9657D33AB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0C86DED-9FE9-CEE6-434A-18631203995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795B3FE-652F-D8EE-2FA3-06CA67D762E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7C8BF43-34B2-B29A-7784-D43E63179C9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DC1C921-E6F8-2117-9849-0A9AEDDC0CBD}"/>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9F1F5B59-E26F-79A9-2B04-D1F820714855}"/>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a:extLst>
              <a:ext uri="{FF2B5EF4-FFF2-40B4-BE49-F238E27FC236}">
                <a16:creationId xmlns:a16="http://schemas.microsoft.com/office/drawing/2014/main" id="{35E911C8-FF10-C895-7C71-CA88FEB04F21}"/>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BB7753A-35F7-0374-1634-3D468E163DDE}"/>
              </a:ext>
            </a:extLst>
          </p:cNvPr>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4B609955-E151-9D8B-05EC-4A7C3F0FEDCB}"/>
              </a:ext>
            </a:extLst>
          </p:cNvPr>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A989B9E8-9182-0203-BA28-72E13707BFD9}"/>
              </a:ext>
            </a:extLst>
          </p:cNvPr>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FC569433-A4EC-81F7-E079-D9595ABC03E2}"/>
              </a:ext>
            </a:extLst>
          </p:cNvPr>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6EF1B0FC-E100-DE10-419D-5BD7E42E7F7C}"/>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9455797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B20B6-C1B9-3872-FE0C-918696E23AD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B66B9A5-5926-D1F4-BDD1-F3491709C3D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8E9D0AD-E63F-9F1E-9251-F4C802496D7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B8AED51-E4FA-2371-23B3-92EF509DECA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933BD9B-259E-2E6C-E2CC-1949F1C1734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07FF463-6AA1-DE33-6B6F-3D8903F7508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a:extLst>
              <a:ext uri="{FF2B5EF4-FFF2-40B4-BE49-F238E27FC236}">
                <a16:creationId xmlns:a16="http://schemas.microsoft.com/office/drawing/2014/main" id="{C4A7231D-3463-D585-1A5B-658176F52DC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62C5286-A027-0948-392C-E7D03B493D7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2602C26-0591-8374-C7A2-990E2716F82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85013CF-39B6-8AD7-829C-C1FF7267E41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87CA1C8-6A85-A048-C9B5-1A94DBA120CC}"/>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FBA5F5D-9908-4442-838C-FF9EA24D3CBF}"/>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0390002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91E2C-2C65-D43B-30DD-4644501DAE5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FB8C1D2-E0C7-080B-477E-F8EF96ADEC0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650F7BB-79D1-7391-C0B8-87B5796AD50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4002F8A-83C0-06EA-83D5-53780C2FD31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328CDF1A-D3DB-7804-D7D8-987659A99DB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FC662F8-DC84-730A-CD38-83D1111972A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DFC77ED-3D1E-D259-9DA5-0D7CB484253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55C73F2-1FF7-2CA0-439C-B78C0E866A2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40EF4A1-E1BD-1611-E111-8A519DF892D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2B8784-1EB7-2FC4-42B8-777E7CD57424}"/>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7EB99A31-E812-60FD-671E-7D624A9C7E7A}"/>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a:extLst>
              <a:ext uri="{FF2B5EF4-FFF2-40B4-BE49-F238E27FC236}">
                <a16:creationId xmlns:a16="http://schemas.microsoft.com/office/drawing/2014/main" id="{D9C0061F-ABE3-D1FC-1F71-6ABE70F961CF}"/>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BB72CE1-19BB-AFC2-3C95-F26C9AF51425}"/>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5AC9751B-4E1A-90CB-DCED-6218B232EE12}"/>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D2558FA-7D7B-A327-DD31-19F041CCFB91}"/>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5002A8DB-7CA0-3C19-4EE1-E3973A285709}"/>
              </a:ext>
            </a:extLst>
          </p:cNvPr>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99926FB4-C9F8-12F7-C080-B63B3789886F}"/>
              </a:ext>
            </a:extLst>
          </p:cNvPr>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35DB52EF-7068-7632-7FA4-CCCD18247360}"/>
              </a:ext>
            </a:extLst>
          </p:cNvPr>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534048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A6732-284C-CC11-BE3C-9C926A75D84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0B61337-F538-11B9-23CD-E2079AD5A48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C92D4A4-BBF6-6441-54AD-264DDDAF696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CA411E-946D-51CC-B557-DBED08FB8EE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4C5E045-1AE0-AF35-4048-862F6AC9C77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6963D4D-76C8-86F2-DF0A-1BD133048B4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a:extLst>
              <a:ext uri="{FF2B5EF4-FFF2-40B4-BE49-F238E27FC236}">
                <a16:creationId xmlns:a16="http://schemas.microsoft.com/office/drawing/2014/main" id="{4CD26C39-A4E8-14ED-5E4C-65AF95D60AF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5C51D55-5C2B-8756-CE82-9C8E43A8FAB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0F8B45F-DDA5-D8E7-3001-274ECEFE733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3497C81-4F5E-E9D5-560B-2859C092CD3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6B762C7-76DD-A6C7-9B8B-21EF43E2ECB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6DD379F4-CFA3-71A6-DF07-D4FFBCF26BAE}"/>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18438092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CB44A-EDD4-BA36-94CF-2C02E59F3F7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3907CB-AB24-1832-79F9-9220A80E085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7E606F3-E262-743D-15DA-118E4B39114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53199101-D874-DABE-6270-6ABA83263053}"/>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FF5A344E-A421-BB7B-A1D3-89CCC69E640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8FCB383-2968-E294-2EB3-3D5685673CAA}"/>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829C8C0-AE89-D4D0-4C37-484DEAC8629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4D3A3B5-D2FA-5988-E577-3B2BB8A66659}"/>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C5BF3134-48FF-A68D-A249-14839DC9CAF2}"/>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3" name="TextBox Y">
            <a:extLst>
              <a:ext uri="{FF2B5EF4-FFF2-40B4-BE49-F238E27FC236}">
                <a16:creationId xmlns:a16="http://schemas.microsoft.com/office/drawing/2014/main" id="{E3BDEA5C-16E9-F24B-93FF-0F5D67CB203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184653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80CC4-293D-EF1C-9FC1-78B67EF0192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693E380-00BE-419D-BD3A-CFACFCAE43A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9BAEEAC-F87F-71BF-2C37-BCA906F23DC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E85BF95-99E0-83D8-2611-592BB2556FF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33D11DEA-DCDA-FCE3-28F7-CA463BEAE13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98B9189-E010-3495-88C4-20A527864DD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AE6BA25-BB1C-7FE4-EC47-8D561E4E52F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C922F10-4B36-CE87-B6A7-FDCC303A643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5478433-4D85-1CC7-DF73-49C81FC164F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95DE808-BBCE-1107-6877-241C0C8E5BE3}"/>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B1AC2303-8212-B255-8179-D0BC03C456B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a:extLst>
              <a:ext uri="{FF2B5EF4-FFF2-40B4-BE49-F238E27FC236}">
                <a16:creationId xmlns:a16="http://schemas.microsoft.com/office/drawing/2014/main" id="{2E0B1BD3-4B3C-4E5D-2A0F-1C04006D3A7F}"/>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C9620D09-49F1-A135-75C8-2BDCE4580A69}"/>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2BADE9E5-7213-48DA-2A3C-D1BF8CBF46B3}"/>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FBE5D714-7BD9-1E74-567E-2385E96CBD04}"/>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BC18F248-4698-8283-24E7-6023C85D2C7C}"/>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0235634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74657-4DC2-9526-3671-38F0FAE9E1B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3D468F0-B6A8-C71E-05E2-7102CE4D010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7C86DB3-701A-0B94-37AD-482CC374F9A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4190555-5E65-1DD0-B5A5-0DAE7DEE518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65E2496-F93F-68C6-1E99-52995F6DB2D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0734DA46-3809-4465-9F7E-3AB283F9F8E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a:extLst>
              <a:ext uri="{FF2B5EF4-FFF2-40B4-BE49-F238E27FC236}">
                <a16:creationId xmlns:a16="http://schemas.microsoft.com/office/drawing/2014/main" id="{38B10245-336A-4467-BF0E-5FF7284470F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CBA22CE-B523-5397-43D8-E6CDE592B65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6E5386E-30AA-EB88-7226-F79598F827E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B7AB3BC-1B26-16F6-DDAA-87DC3BCE3B7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6CA618-1F2B-6C33-6A26-CEB08EF5F38B}"/>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6C765D9-E5B2-E3F9-B630-35E5E636AC9F}"/>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287623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DA1B6-E9B3-14AC-1BA6-B0F1E56B546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CDBC880-A385-C764-E976-40D1EBB6D6CE}"/>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3D7405B-6BD2-46E1-3A27-6DF08D7DA52A}"/>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D6A3D45-8F54-A8A5-08F4-D4521B85CC8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F6C0DFD-7B59-80B0-52D2-11E6BD957B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6E2D576-7740-CA82-CA07-EBA107E1BBD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a:extLst>
              <a:ext uri="{FF2B5EF4-FFF2-40B4-BE49-F238E27FC236}">
                <a16:creationId xmlns:a16="http://schemas.microsoft.com/office/drawing/2014/main" id="{4C02668A-EC90-43BE-C515-BF2C73762E7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8D4F46A-8350-B51A-9CBD-979E755A72C0}"/>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9939022-4945-326C-4132-C4999FA9F56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A67D5A0-DDE9-E35B-EA1C-DD735FC20B65}"/>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EF95DF7D-3A87-80D4-ECC8-F6C652691D28}"/>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393062816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DB4B8-66A0-7B21-7181-66525D6B5BB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6FFA8A4-4D29-E457-76F3-4583A1C38D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F3D094A-A9FF-BF06-66B3-1C248B459EF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2FDF130A-80EF-7EFE-ABEE-F9C7B68E309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72302FB8-CA4C-5EB9-6E31-069B47F6B39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CF34629-184C-5190-E62C-7995377AE4B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AF20AC9-EFCE-C9DC-8BC5-C42BD38F776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D870B62-2088-E0CA-06FA-10B40F61D54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568A73D-65F8-BED4-46C6-2F1BB6D0ACB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18E16EE-DE94-0580-EBB6-F157F8EED5BD}"/>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FA64C57-7698-BDB1-F971-B098D62CA533}"/>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a:extLst>
              <a:ext uri="{FF2B5EF4-FFF2-40B4-BE49-F238E27FC236}">
                <a16:creationId xmlns:a16="http://schemas.microsoft.com/office/drawing/2014/main" id="{9F179673-E434-6577-5B58-FADDBBEF3B46}"/>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12922EA-8EF7-F7C8-4344-286A2FD5E9DE}"/>
              </a:ext>
            </a:extLst>
          </p:cNvPr>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3A5AE8F4-42D8-BC8D-134A-B459BB076F27}"/>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312F7ADB-AA22-08B1-F92B-0A2C66F31EC1}"/>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C5DB5BF1-4BF1-2F05-9D5C-F45CD0889516}"/>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7040781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FD324-AA98-ECB6-6E46-8AACCC59A56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20AF560-7E71-E741-1D9D-B1BC277A9FC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90EE373-A73F-03B5-A3A1-66EE94247CE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D4B772D-342D-3EAB-064F-2BCF0074515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912947B-2CB4-42A4-BFC8-A3A5F407750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3C5CF38-226E-8CC7-67D4-D46E4CC36CF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a:extLst>
              <a:ext uri="{FF2B5EF4-FFF2-40B4-BE49-F238E27FC236}">
                <a16:creationId xmlns:a16="http://schemas.microsoft.com/office/drawing/2014/main" id="{BB13E546-AD59-1F42-ACAE-BE59F56EB67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0148764-299E-3D39-8FCC-BFB2AC41438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25DECAF-759C-EEBE-EF10-F1589A7AE2B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90CF14E-572C-B59E-ECDA-E14B2A4144E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C8B3172-D3A6-0FC1-4DD7-76BE928B0D7B}"/>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1F9E39F-67AD-5C19-AD41-2E2DA41E3548}"/>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13530898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724B7-16C9-BF2F-6770-9CB04EBCCB0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9B9EEDC-C8B1-286B-4AD9-45E57C3BA67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2CA4322-BADF-D953-4237-C3F5D5E307C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45FDA3B5-D0ED-81D6-EB85-1BF7CA1DDD08}"/>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C2188887-30D7-72B5-60E0-0452B821135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A1E28B9-A142-00E5-E097-1C59C958FB76}"/>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9280591-F027-1FF5-00F5-9DECC6B60CF6}"/>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205DA20-391D-A303-6C0C-A41384C4BC65}"/>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0A3C3C80-3A05-9F1E-A290-3325B58BA455}"/>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3" name="TextBox Y">
            <a:extLst>
              <a:ext uri="{FF2B5EF4-FFF2-40B4-BE49-F238E27FC236}">
                <a16:creationId xmlns:a16="http://schemas.microsoft.com/office/drawing/2014/main" id="{A45F5749-F8E0-53A6-1915-4D417B02A3C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8899700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B03E4-0EB3-A0F3-5892-AE26CDB3DC5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A6B2E4E-A0EF-17CA-2DD0-E144E59A477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CE0D4FB-5D3D-CF09-FFB0-D18188C6C9A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342BDA91-7A64-79CE-90EA-4F5C2C068F4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3E0D8118-7AE8-0A29-ABBA-2C7F4C6BE6D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AE6BA2D-418B-158E-60FD-35AECB904D0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471B400-5502-2E07-E745-BAB4F9C566D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72086B6-4E8B-5212-1FCE-E999EE16AE1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7C55FDE-7BA4-F8EE-1F8F-7A9BD47995A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A315873-4D35-9AE7-44A6-0F7F2966E29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2785E588-BEED-7613-7C85-8A7564E93845}"/>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a:extLst>
              <a:ext uri="{FF2B5EF4-FFF2-40B4-BE49-F238E27FC236}">
                <a16:creationId xmlns:a16="http://schemas.microsoft.com/office/drawing/2014/main" id="{020A3A3A-D484-2B85-13D7-04528A152B48}"/>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258EA54-ADD0-881D-E4E7-BF26A847EBA3}"/>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50A8D01-97E4-9889-D764-ADD3A9805FD1}"/>
              </a:ext>
            </a:extLst>
          </p:cNvPr>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24E14B9B-CB48-1C14-A83C-AE6924EED914}"/>
              </a:ext>
            </a:extLst>
          </p:cNvPr>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81709DC7-A503-28F0-2EC9-C5D4BEFAB11C}"/>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D7CB44B7-47BE-3E1A-C22D-EDA792F41E42}"/>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C1C841B7-8761-3585-60AC-91EE0445EA96}"/>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773242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412BC-F61D-8BEB-8B2B-44796560F6A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8EB78F6-2A3E-0BBA-D188-BC5885C4EB2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4937B8E-E4C0-9D64-0771-0136A763495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9A7F8A0-0077-1ABD-B2DD-38A16E1D58D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3F39935-A480-DF80-3026-E59CEA2B2B4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6A8FA71-AC29-42DE-3708-E75197E47F0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a:extLst>
              <a:ext uri="{FF2B5EF4-FFF2-40B4-BE49-F238E27FC236}">
                <a16:creationId xmlns:a16="http://schemas.microsoft.com/office/drawing/2014/main" id="{7AEBEC2F-82F4-8FB8-2C46-2EC34C8BC79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D30E4D4-4222-81F4-206F-7E2866C0422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D18398F-F1C7-7630-86B5-CE5891ED3DF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CF58092-F2B9-2B07-767E-A8BEAEFD9D3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BEF8FED-71DB-A0DD-AFF6-54E4BA2CE34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C5184D80-9CF3-F23C-17D2-58A460B64028}"/>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58195283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9FE111-5877-CB62-E931-7E40347F3AA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97658DA-C8FF-EC16-AF5D-1629EFC2E78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3348E9B-2902-0FF9-84C4-0A45BC512AC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3D7BA48-5B34-9B74-9361-48A184C3BD0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4CECA240-BF2D-C5B1-0125-6A376C40039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C44D82F-3238-95D6-5A00-C98C5409DE3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A8255AA-EABE-EF35-E1FD-FC4C0ED0FAC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FD2DA3F-97B0-BEC4-CF8F-973BC2AE977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CF94D11-A16B-FFFE-B301-1AE100FA66A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9A5E172-B4C1-4E3A-8545-306779393208}"/>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9CF32E83-5F67-F937-055A-358A507FF823}"/>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a:extLst>
              <a:ext uri="{FF2B5EF4-FFF2-40B4-BE49-F238E27FC236}">
                <a16:creationId xmlns:a16="http://schemas.microsoft.com/office/drawing/2014/main" id="{6CA73234-C3EF-7A11-9055-2E81AF652F0A}"/>
              </a:ext>
            </a:extLst>
          </p:cNvPr>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0478769-EE12-43FA-5CA9-5587CAC0EB2C}"/>
              </a:ext>
            </a:extLst>
          </p:cNvPr>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31D9319D-1790-1E70-8745-A406F8761C33}"/>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9156550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40B48-2254-EC00-6F18-2A13271A204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3B71394-EE7A-55F8-2CF0-40F4E3AB5A0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EFE4C9C-BB9B-90B8-EDD9-62BDE39AECA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8E04003-3DC4-BE10-3C48-915918C44DA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797457C-6E89-75A5-391A-DBF0A7A92B4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EA59899-AA0E-6B7C-BA85-66ED3D9EE14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a:extLst>
              <a:ext uri="{FF2B5EF4-FFF2-40B4-BE49-F238E27FC236}">
                <a16:creationId xmlns:a16="http://schemas.microsoft.com/office/drawing/2014/main" id="{590934C9-50D4-2C52-CE39-5D275B8FB07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5FC1E58-166D-77C8-C269-2B8AE0BA3AF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4BA20F8-7AB8-ECBC-8777-6767B6B2E28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98DF620-A82E-4CA6-C934-9BC2FB73D8D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42195CC-DA16-E519-F71F-3F02076AF120}"/>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5C58138-46A1-EA9E-6518-B57189A17750}"/>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52789342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F8737-CA8B-7D26-A0B6-2F6AB95B479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25AE23C-CF0A-0ACF-E95D-7F25FAAFEF6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F05A934-A914-27E0-DE50-11E76DE6719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296465C-AAA7-D27A-6B7A-C8DFAB694B3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24504A7B-9695-B43C-39FB-B924CFB903A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77BC89F-C158-24A8-991F-556C4D90143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8EB38CC-1BD7-D9E0-E540-388ED192B87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83062F7-4879-100B-67FF-A4566F3A349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F657ACB-C57F-97EC-E2F3-F1381A29F33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680356C-7056-3AE1-1782-1528614E75D1}"/>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DE6B128F-ABD1-1E5D-3FF8-F87D151FE0CF}"/>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a:extLst>
              <a:ext uri="{FF2B5EF4-FFF2-40B4-BE49-F238E27FC236}">
                <a16:creationId xmlns:a16="http://schemas.microsoft.com/office/drawing/2014/main" id="{1AEF436A-7A5A-06D2-D760-90844A6F6F6A}"/>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4020265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F4B14-C277-5CC4-B636-ABFD4717876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85B554B-1266-884A-A8BA-27C94582E76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E07CD53-259A-7DBD-9120-4F0A2DFD8E6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8CF4699-49ED-3C97-448A-080DAE8DFCE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083BAA6-49E4-041C-86BF-BAD709A8077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82DDC26-3F09-D9B0-4E01-971E7C20745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a:extLst>
              <a:ext uri="{FF2B5EF4-FFF2-40B4-BE49-F238E27FC236}">
                <a16:creationId xmlns:a16="http://schemas.microsoft.com/office/drawing/2014/main" id="{172C1415-7E4A-C7D7-2223-FF2CD2969E7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C61C11B-4F86-6DDF-930A-996F46CFA96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1037C80-79EC-44E5-A939-3B28D03DC30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26AB8AA-5378-06C2-DF23-219E7FE1935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AF7639-A73F-8BAA-A3CA-56443B2ACA1E}"/>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C902064D-3A18-C096-1640-5EA528800CF7}"/>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56701398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72F64-5DC4-3653-E2F4-78C34E75310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51FEC13-F06F-0C6E-777F-3F34AEEAD7B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72DD2E8-B9A9-C203-7238-FD0CC0E94E9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EDC943AB-CBE7-D49E-4ACD-D1C7B788B327}"/>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C39185DE-47F5-6BDB-D296-1105B5D351E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23BCAE0-C3FC-4518-7887-2ED1E8D86BC3}"/>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236631D-2C5F-0A1B-324D-1A20FB903E1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83B3E54-AE1D-B143-79F7-545FFDCF9012}"/>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FC3DA202-4E15-8155-06EB-94D02772F383}"/>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3" name="TextBox Y">
            <a:extLst>
              <a:ext uri="{FF2B5EF4-FFF2-40B4-BE49-F238E27FC236}">
                <a16:creationId xmlns:a16="http://schemas.microsoft.com/office/drawing/2014/main" id="{F65CDE3E-F7F4-111D-55AC-97DD7DC1C9FA}"/>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29201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C8723-7DF5-CD1B-C4A3-82FC80D97F8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FD65CF9-D27F-AC9A-8A22-D5240D7D731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532E1BD-02B6-EAD8-42F6-065AFBDA4F4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6D060AA-0BA4-E640-364F-0547E5A865C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5F6F8BB-A213-1D8D-8F92-679A331C191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AE7EC0B8-B6B3-F3C3-2E5B-AB4201DCEC83}"/>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a:extLst>
              <a:ext uri="{FF2B5EF4-FFF2-40B4-BE49-F238E27FC236}">
                <a16:creationId xmlns:a16="http://schemas.microsoft.com/office/drawing/2014/main" id="{DFEE2CE5-8BE1-726D-0D11-C633635A4C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FBE309D-071A-E9AA-6512-4D4F022C722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6157A86-0203-8ACB-0B3D-FC8A5C2C9CD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B48DA23-7A87-A565-5C2B-A8EF2DA2DB61}"/>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07846CFC-03A0-83A9-FCBB-F49497825D58}"/>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37383802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798BA-5DFB-09B7-E6A4-19B3A3E661B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F206A2-E161-8DC7-77D5-F93739DCE4B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D4AE74F-EEA3-90AB-39A9-397D12695A0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D9A13F0-3A6B-80B6-C37B-99473B39CE2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8BE6CAA0-F353-AC60-255E-1D6D2E8C90C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CDE16BA-5EFE-A93F-C6AF-8753C776087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E6D5C35-DF06-BA30-945F-468FABB8FFD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B7D6456-32F4-8A72-E6FD-19E407F0AF0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DA77CB2-DD94-CBFD-A4EE-F18318F67D4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B639DA-22EA-8240-302D-CCD5E73EF21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4F158816-8EF9-EDCB-8478-84DAD8A9D7CB}"/>
              </a:ext>
            </a:extLst>
          </p:cNvPr>
          <p:cNvSpPr>
            <a:spLocks noGrp="1"/>
          </p:cNvSpPr>
          <p:nvPr>
            <p:ph type="sldNum" sz="quarter" idx="16"/>
          </p:nvPr>
        </p:nvSpPr>
        <p:spPr/>
        <p:txBody>
          <a:bodyPr/>
          <a:lstStyle/>
          <a:p>
            <a:fld id="{7B1F438D-4EAF-094E-9162-80CF3EF77236}" type="slidenum">
              <a:rPr lang="en-US" smtClean="0"/>
              <a:pPr/>
              <a:t>140</a:t>
            </a:fld>
            <a:endParaRPr lang="en-US"/>
          </a:p>
        </p:txBody>
      </p:sp>
      <p:sp>
        <p:nvSpPr>
          <p:cNvPr id="22" name="Rectangle 21">
            <a:extLst>
              <a:ext uri="{FF2B5EF4-FFF2-40B4-BE49-F238E27FC236}">
                <a16:creationId xmlns:a16="http://schemas.microsoft.com/office/drawing/2014/main" id="{9247157E-CCA9-57AF-D1D4-119C994912F6}"/>
              </a:ext>
            </a:extLst>
          </p:cNvPr>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672DCCCD-633D-1889-B1CE-FF769A00EA83}"/>
              </a:ext>
            </a:extLst>
          </p:cNvPr>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3F7428D3-AEFA-B3CD-8022-8B983311254E}"/>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3B8C3CC9-4BD7-D7F8-4B02-E610317586BE}"/>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F8BDD82B-624E-892F-8F51-FD1CBBCFEDA0}"/>
              </a:ext>
            </a:extLst>
          </p:cNvPr>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ED406A1D-9B91-DC81-3ECA-48DB35FF08AD}"/>
              </a:ext>
            </a:extLst>
          </p:cNvPr>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52230517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D857F-99DE-B385-EEBC-1BD8C8BEB9B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5C23BC6-AB3F-27A6-843E-C39E18507AD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55B41B2-7959-72BA-916D-2E9FFAE9AFD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2DCE5DF-58F1-2D05-24FE-61A63D7C4BC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367AD64-740D-4B89-65FA-BD23C18DC05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7EC3B21-89ED-605F-4AA5-4E1DC37184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a:extLst>
              <a:ext uri="{FF2B5EF4-FFF2-40B4-BE49-F238E27FC236}">
                <a16:creationId xmlns:a16="http://schemas.microsoft.com/office/drawing/2014/main" id="{83A8D94A-E7DC-C3D9-6468-664720820DD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D576437-542A-3D75-16C6-4427EC02B57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0C9E685-A9C4-5B66-2381-5F64777AC38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2968319-A68A-54B2-0DEB-57C600A45A6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67AA4FC-05DD-5E00-B1C8-EF666F40BB4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9B44EB8D-D2CA-8DF0-F7CE-9DB10D0B2364}"/>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80427291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04FC4-1714-47EB-89BD-96E72D554B6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E372F34-96B8-0DC9-83E5-407EBC4B851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83FDB51-8EDE-2031-E0EC-FAD972FED0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460003EA-5A45-D3D8-CE9C-0E06FF40E84D}"/>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B5646DAB-23A4-E8A0-4D39-3D735BD977E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55983E7-AE67-2A1F-D2EE-57CEBDFEB898}"/>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B1D229F-15CF-3BE3-AC71-B2219A5C945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333B996-183E-10E3-8883-CBB81F77795B}"/>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C393835E-D2B3-79D4-8770-E16419A86E06}"/>
              </a:ext>
            </a:extLst>
          </p:cNvPr>
          <p:cNvSpPr>
            <a:spLocks noGrp="1"/>
          </p:cNvSpPr>
          <p:nvPr>
            <p:ph type="sldNum" sz="quarter" idx="16"/>
          </p:nvPr>
        </p:nvSpPr>
        <p:spPr/>
        <p:txBody>
          <a:bodyPr/>
          <a:lstStyle/>
          <a:p>
            <a:fld id="{7B1F438D-4EAF-094E-9162-80CF3EF77236}" type="slidenum">
              <a:rPr lang="en-US" smtClean="0"/>
              <a:pPr/>
              <a:t>142</a:t>
            </a:fld>
            <a:endParaRPr lang="en-US"/>
          </a:p>
        </p:txBody>
      </p:sp>
      <p:sp>
        <p:nvSpPr>
          <p:cNvPr id="3" name="TextBox Y">
            <a:extLst>
              <a:ext uri="{FF2B5EF4-FFF2-40B4-BE49-F238E27FC236}">
                <a16:creationId xmlns:a16="http://schemas.microsoft.com/office/drawing/2014/main" id="{69197E20-284F-6B12-C43C-CA34A28F7AF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8936440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14D72-DE9E-1A27-C028-E981F62F0DD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F0F1380-8C69-FB37-25C5-6B543DEBEBC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CC9EFDB-CF86-7956-5888-C433D32813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3AFC7E04-EEC1-EBF3-DF9F-20700AC9445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00410379-975C-AA16-ECB5-162DBF9B52A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9E72591-3461-49D9-7708-4B6D4186F5C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F693355-E6EB-C025-6645-0EA546FEADD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36EC6DE-5A78-A905-9A0D-52D23DEB5BB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C9D8D14-35D9-9DFA-F325-E240F860B45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A830E6B-D496-AEB2-3721-51169D8E05FD}"/>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3258624-B672-CF22-DDFE-DE956CB5BA7A}"/>
              </a:ext>
            </a:extLst>
          </p:cNvPr>
          <p:cNvSpPr>
            <a:spLocks noGrp="1"/>
          </p:cNvSpPr>
          <p:nvPr>
            <p:ph type="sldNum" sz="quarter" idx="16"/>
          </p:nvPr>
        </p:nvSpPr>
        <p:spPr/>
        <p:txBody>
          <a:bodyPr/>
          <a:lstStyle/>
          <a:p>
            <a:fld id="{7B1F438D-4EAF-094E-9162-80CF3EF77236}" type="slidenum">
              <a:rPr lang="en-US" smtClean="0"/>
              <a:pPr/>
              <a:t>143</a:t>
            </a:fld>
            <a:endParaRPr lang="en-US"/>
          </a:p>
        </p:txBody>
      </p:sp>
      <p:sp>
        <p:nvSpPr>
          <p:cNvPr id="22" name="Rectangle 21">
            <a:extLst>
              <a:ext uri="{FF2B5EF4-FFF2-40B4-BE49-F238E27FC236}">
                <a16:creationId xmlns:a16="http://schemas.microsoft.com/office/drawing/2014/main" id="{EFE64244-57EC-2E33-E92F-B88A4D68BC07}"/>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C1CF019-6689-04E3-E7D5-952E7C72B8C4}"/>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D0722807-3E16-095E-1744-EFD7851E3F86}"/>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4E865D2A-2E19-7BB5-0324-835BE891216C}"/>
              </a:ext>
            </a:extLst>
          </p:cNvPr>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0CFE364C-90EC-4D22-9FB1-1C526B0B2C0B}"/>
              </a:ext>
            </a:extLst>
          </p:cNvPr>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CEE26474-4502-1D6C-7AD6-AC6F4754A02B}"/>
              </a:ext>
            </a:extLst>
          </p:cNvPr>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C7657F55-1509-3986-CA9A-172F49B51AF8}"/>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38325170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083D-7D00-22D9-A13F-B98748F4567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D3BA499-E2AA-66D0-D80D-EB3F96B66B8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41AACC8-E565-5689-08EF-8C9A42D979B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0134D3B-8BEA-D699-3876-CA0D131BB41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7B09E11-02F6-F61F-60C7-6C4C5162AF5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4C461B2-198F-D825-DAF4-0BBE562ECA5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a:extLst>
              <a:ext uri="{FF2B5EF4-FFF2-40B4-BE49-F238E27FC236}">
                <a16:creationId xmlns:a16="http://schemas.microsoft.com/office/drawing/2014/main" id="{A788A396-B98B-47B6-3DE8-057040B583E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32519D2-D30A-20D5-3497-BC73341D86D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87A4244-9F63-FBD7-E012-68FAEB331B1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521F5D6-108D-EC78-37B3-8A9B467A90A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5F44F9A-0615-0627-1F6D-94ABFAAA4EC5}"/>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F736048-FE16-281A-85D5-26C170696D0E}"/>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308628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7B52B-DC2F-5DB2-84DE-53BDA1E5AE8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D58AACB-5C7D-548A-B989-3AA5BCB3AEE6}"/>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94A3C33-6FAF-0D62-DDCF-143DFF2F379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42A2C6B-1C35-D621-9BF9-EA40D0A2E39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C65AE72-30DD-8F1A-9D3E-878FC60492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DDCE9AF-3FE3-0624-166F-D4E4C6AFDFD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a:extLst>
              <a:ext uri="{FF2B5EF4-FFF2-40B4-BE49-F238E27FC236}">
                <a16:creationId xmlns:a16="http://schemas.microsoft.com/office/drawing/2014/main" id="{D56D7257-3E9E-1B4F-F891-967039860A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68834DC-A42D-D90F-4493-53E5CCE0B690}"/>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BFCE159-20CF-ED86-FE1F-309C546DAF8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1CE48BA-301D-B09A-6B1D-0CA334A7489F}"/>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BD3A0886-8848-4A93-9FBC-E975C182163F}"/>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7520581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BA40CD-7820-315B-FABF-8E873796B6C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69FA88F-ABB5-E243-21B3-C919390DAD16}"/>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68A36BB-FCF9-8F7D-F251-4B04BCA9A71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56559CC-18FE-CB4C-BA27-15C526ED0C6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0858D5B-A542-414B-0F0C-6296B2E8FA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A4AED86-6959-BC59-4C7E-C8068C06E1D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a:extLst>
              <a:ext uri="{FF2B5EF4-FFF2-40B4-BE49-F238E27FC236}">
                <a16:creationId xmlns:a16="http://schemas.microsoft.com/office/drawing/2014/main" id="{0776D480-FE33-C011-9CA5-8CABB17B7DD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EBEB0EF-89CE-3073-C2E1-6E48C57321D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9586C28-59D7-7025-AED2-983FF57EC673}"/>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EC32A52-ED02-B828-E96B-30B5F203F6E5}"/>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0CD697F1-F8D4-8ED7-FDF2-375B2E64B30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703818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F74B4-AE94-FAC7-FDFF-656EABD0C74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073523D-4A75-DD43-08C7-56567FB07B8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2CCC6CA-49DB-529D-0257-D6CFA5A432A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EB92E29-38B5-B21B-CD61-01D0442E337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4667263-004D-BF0A-FFDE-1B468A7922B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0E99AB8-BAC9-6FC7-6F3E-9A39B05669D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a:extLst>
              <a:ext uri="{FF2B5EF4-FFF2-40B4-BE49-F238E27FC236}">
                <a16:creationId xmlns:a16="http://schemas.microsoft.com/office/drawing/2014/main" id="{E4D12000-16C1-31F1-3744-45686BCE09A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2D63E8D-4A6A-68C8-E89E-EFAE74C9655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86F34B9-4A1E-79DD-D6B1-FE6BE7481D07}"/>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CF6FE9E-2B78-8B24-3FE6-633AE0919ADD}"/>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1A237FB5-0D70-F270-E1F4-349268C0B4E6}"/>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826085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22CDC-D206-C7B6-5B30-A9F30ADB88C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872E7A1-614D-0BCD-6842-0ACE82C020B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27EFAF7-B7E5-AA99-AC33-F5E2BB40E7F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FB1304C-3C15-E4A2-5C3B-28E5CD21A6C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82812D5-580E-441E-78F0-693002EC36D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C63EF3A-C196-F3CD-B28F-8C8B241E839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a:extLst>
              <a:ext uri="{FF2B5EF4-FFF2-40B4-BE49-F238E27FC236}">
                <a16:creationId xmlns:a16="http://schemas.microsoft.com/office/drawing/2014/main" id="{A6E88F00-B4CD-1E42-DE77-D3AF4F5F2E4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7E616CF-E25D-4DD8-8CA1-E3B2F0C037B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2B22FC4-3581-05FB-EEBF-05334B2489B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026E683-4898-0E77-5C25-F002BD60B57F}"/>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171FE6B6-F35A-4244-F5E8-BDD60119528A}"/>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332638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4BBC8-21DD-7B9E-652A-D2A39C5489B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542ACF2-9A1E-F20B-E005-BF786964631B}"/>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7DB8258-1166-2EBF-3158-956C66D2176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93D1593-14A9-6D3B-BD6A-6846AA95C81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601C984-A5B5-AA3E-2D76-B604BA60012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9D9A25A-F918-2F08-4904-EC27D0A224D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a:extLst>
              <a:ext uri="{FF2B5EF4-FFF2-40B4-BE49-F238E27FC236}">
                <a16:creationId xmlns:a16="http://schemas.microsoft.com/office/drawing/2014/main" id="{77256BA8-8020-0C0E-F598-204E4991B4B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87FD3AA-3FCE-83DA-3C3B-6DD5E51F152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046F606-FF57-B0EE-9744-B2DF4064214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D19CB96-4D04-35F4-0CE3-8ECFD2E885FB}"/>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3C6A850F-7E0F-4245-4740-7F3243C0EA9F}"/>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908614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DAE3A-60B2-C025-52CC-C2EC39E8AA33}"/>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FBF21C05-19E0-C918-A31D-401818740B76}"/>
              </a:ext>
            </a:extLst>
          </p:cNvPr>
          <p:cNvSpPr/>
          <p:nvPr/>
        </p:nvSpPr>
        <p:spPr>
          <a:xfrm>
            <a:off x="3802167" y="3296306"/>
            <a:ext cx="4687628" cy="10348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AA3432C0-9B7B-7EC3-7CB8-4AD32273A41E}"/>
              </a:ext>
            </a:extLst>
          </p:cNvPr>
          <p:cNvSpPr/>
          <p:nvPr/>
        </p:nvSpPr>
        <p:spPr>
          <a:xfrm>
            <a:off x="1458354" y="3296306"/>
            <a:ext cx="2343813" cy="1034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7843583A-6F4F-015A-EC53-FE56DA8262FF}"/>
              </a:ext>
            </a:extLst>
          </p:cNvPr>
          <p:cNvSpPr/>
          <p:nvPr/>
        </p:nvSpPr>
        <p:spPr>
          <a:xfrm>
            <a:off x="1458354" y="1226634"/>
            <a:ext cx="2343813" cy="2069672"/>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701279DC-60C5-E51D-AD13-DB7DC5428F0E}"/>
              </a:ext>
            </a:extLst>
          </p:cNvPr>
          <p:cNvSpPr/>
          <p:nvPr/>
        </p:nvSpPr>
        <p:spPr>
          <a:xfrm>
            <a:off x="3802167" y="1226634"/>
            <a:ext cx="4687628" cy="2069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72219174-8570-A342-B982-91F658E3F6B7}"/>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A3A51C71-2972-1EE5-76E9-E634FAC8132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EA6D2E70-9D01-A647-961B-00FDE2573101}"/>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197C2118-1261-DC78-341C-1C40F54120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2500CD4-F7CB-8B06-F161-C9A22A4D1F8F}"/>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D24AD949-35EC-6F88-0CFE-AEAAD3907575}"/>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7FFF6E7C-C8E0-794B-1108-96EEE87CA920}"/>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FAEFB620-B06E-0CD7-A3DB-E3B8B2E9172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BB363748-F493-5131-33BB-5E73F10570FC}"/>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D19F43EA-33C7-5F1B-ED0E-0C07B800F84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B99FA0F9-9CEE-A307-8E9A-14FAED03E35C}"/>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02F49160-AE3B-8623-B5BA-D677203BF77B}"/>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206303B3-4B13-3B07-F480-5C05691895B6}"/>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93B935E-7F30-B518-49A5-A77AA4318F2A}"/>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53524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90BE2-8586-EA5E-80EE-B52C08862D5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A9F26B0-6996-64B9-3EC3-55B5E110EBE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7E75A93-CC1A-829B-69A3-B51EF2DBDF0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0AF3E6C-16D3-273A-B44C-D7C2C669732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35001F5-60DA-2E0B-E73A-A853F2F8765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84C6AE7-D15D-4132-32A7-090A9DD2724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a:extLst>
              <a:ext uri="{FF2B5EF4-FFF2-40B4-BE49-F238E27FC236}">
                <a16:creationId xmlns:a16="http://schemas.microsoft.com/office/drawing/2014/main" id="{6348D911-135E-A1E0-DEBA-81BE37CED7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2FFFEFE-0375-5B1B-CBD1-906DB1C0FFE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5AA37CD-334C-864B-2658-C62CEED67705}"/>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B6F46F6-13A5-18BD-5943-872927FA6B64}"/>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821258A-B073-FEB0-70C3-9DD522733EE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580033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7D0CF-E118-E0B6-09CE-600EE358D5B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DB3C656-21C3-7953-7F44-6CF8A5B5136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BD6C518-11DF-C7BA-2CA4-5B68380E8F80}"/>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C1ADF8A-EDB9-CEE5-52A3-EE152748BD3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95BD32F-B76A-0A5E-DBC0-F699108EB10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4BA5038-08AA-0A12-EE07-EDFAB08D3C8D}"/>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a:extLst>
              <a:ext uri="{FF2B5EF4-FFF2-40B4-BE49-F238E27FC236}">
                <a16:creationId xmlns:a16="http://schemas.microsoft.com/office/drawing/2014/main" id="{CF96B476-D9DA-2681-39BB-2C1F8E1FC7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F94B633-022F-5D9C-E5C7-4C0BFF9AB1E7}"/>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CD87826-E2E9-D941-2171-32D127483A2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BEF0BBA-CEA4-806C-BABF-A2208E0994FC}"/>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4DA4076-6102-3D8D-7ABB-47743454172F}"/>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783892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8E22E-E096-3C08-394C-4FE90A47A61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80E7A9-6B39-5873-9D6B-565828D961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F3310D07-D682-16BE-9C55-2FC6E3E41699}"/>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5FD1BF5F-3043-44E5-1CC2-D178EC18B46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ABE61D9-AE70-C78B-B5CC-EFC919A3DF04}"/>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9183E5BD-89D6-EDF7-BCAA-F0AF7B08A30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885F7CAD-B293-54E2-3310-5F2930B28792}"/>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15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15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B553834-3711-FD0E-372B-6D6F92557F8D}"/>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4EB9C80-4D7F-C675-65DB-2FFDE1113BFA}"/>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DA4708C4-AFF1-DBE8-0F45-7A47A13B931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208617B-CA19-4756-AA86-842427CE1B84}"/>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189210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7A226-6C26-9C33-D79D-E3BA9B06352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0712558-5D4D-8B8B-A45F-47F1D23366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9A574B60-15FF-083E-81AB-FA3EAA0F59AE}"/>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D47599B7-F5B9-AF60-731C-C4FBC68B8B7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A87E7011-A091-0866-900D-1821F068141C}"/>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58E615AE-D6FB-AF58-B4DB-700BAEC5261E}"/>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55AA18E4-E418-B45B-A2A7-3D33D266A3F6}"/>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1C7248D-D48B-E9A8-E89C-9C8222615E07}"/>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7E1C727-843E-5487-912D-CEFBAF6199E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634AB16-C07B-C83E-AE16-14ACE094AD99}"/>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6160EDA9-07B4-5430-1D36-111892822FD0}"/>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4255057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D222D-BC15-CB40-2F3C-61773734A61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AA9436D-157A-19B6-340F-27F741EB18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C76510B-7FBD-C33E-64B0-F96BFFC48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202DFB78-3A79-EF9F-5E46-CEFE1C3CE73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3F6EB1B3-2474-FEE0-548A-32B7D5BFD595}"/>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C447AA26-389B-38C1-D28B-CD5FCADB36D1}"/>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8184677C-0CC9-DF7E-989F-C4C65FBA2B0C}"/>
              </a:ext>
            </a:extLst>
          </p:cNvPr>
          <p:cNvGraphicFramePr>
            <a:graphicFrameLocks noGrp="1"/>
          </p:cNvGraphicFramePr>
          <p:nvPr/>
        </p:nvGraphicFramePr>
        <p:xfrm>
          <a:off x="546970" y="1137285"/>
          <a:ext cx="8093792" cy="3521950"/>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3661EEE-E8D6-A787-95AD-ABEBEEF73B50}"/>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27F6DEF-DEE2-AAFF-DF0C-CEF321F61B6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15764205-18FE-BA19-2619-3EFB7BF104A3}"/>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D5865AC5-5CB5-9FE6-376D-30CC0A80BE2C}"/>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414592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B30B4-89BA-758C-E2F5-88F9A666DE3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04A3A69-8F50-CD1A-1939-BAEA28131D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FDE3A332-B189-C86F-FCD5-5C173219A13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7339999C-FAE1-9EC7-8947-3552D496B05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482551B0-81CE-1C27-0FBB-EAA347B26E6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8B121B6E-C008-8F1F-CA9C-375B139ED384}"/>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043406DA-D478-D547-0991-DB7CA52FD777}"/>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C0B8621-7832-E793-9E12-E028045AD50B}"/>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5A372188-A670-E2A9-1A12-C16EC3121D9A}"/>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2CD06BCB-1445-574C-4F91-D0C33D89ACA4}"/>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C05FBD9A-5342-3F0B-C968-8513EF5746AA}"/>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111207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62F55-8D3A-01C0-E1B2-7591B6FF83E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100332-9324-B631-A854-A65D655C07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2E033B6F-9F32-A2B6-1040-7F88E66881C7}"/>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B1C66FD-DBA6-3420-A62F-3461A28110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7F584547-EE0F-1797-0068-7F49A5031FA9}"/>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8B18C13-B9D8-75BB-F9DD-02B9EA8F620B}"/>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6D9DED2C-2CBD-201A-0582-9388A7FA32D7}"/>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ABB486DD-6D89-1A6E-2816-94B5DBC5644D}"/>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B185BAA-B020-69C5-0896-7356A7F2B356}"/>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B2A301FE-5AB6-2C66-9AB4-9200FACE28C3}"/>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9BD12921-A1B0-0F55-92EC-356C151CF16F}"/>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6618568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027684-4182-F561-DC02-7B1586C922F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5DCC2D6-028A-2BF2-3214-87957A19B9A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C0CE87A-444A-BD91-759A-EEB733D4A02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3A646EE0-E59F-39A0-0A37-7670642C1D8F}"/>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B4C5D566-D21E-42E4-4A9C-9453E174ABA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AAE7C62-3E2A-F4B2-E1BA-FD4592FF7A15}"/>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CBF9AFA-8E92-BF01-E0E3-DCF8FFC4752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112224B-748B-4C6F-FA83-05587B1CD3D8}"/>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51B75AF-0568-AFBA-79AF-308D39D91436}"/>
              </a:ext>
            </a:extLst>
          </p:cNvPr>
          <p:cNvSpPr>
            <a:spLocks noGrp="1"/>
          </p:cNvSpPr>
          <p:nvPr>
            <p:ph type="sldNum" sz="quarter" idx="16"/>
          </p:nvPr>
        </p:nvSpPr>
        <p:spPr/>
        <p:txBody>
          <a:bodyPr/>
          <a:lstStyle/>
          <a:p>
            <a:fld id="{7B1F438D-4EAF-094E-9162-80CF3EF77236}" type="slidenum">
              <a:rPr lang="en-US" smtClean="0"/>
              <a:pPr/>
              <a:t>27</a:t>
            </a:fld>
            <a:endParaRPr lang="en-US"/>
          </a:p>
        </p:txBody>
      </p:sp>
      <p:sp>
        <p:nvSpPr>
          <p:cNvPr id="3" name="TextBox Y">
            <a:extLst>
              <a:ext uri="{FF2B5EF4-FFF2-40B4-BE49-F238E27FC236}">
                <a16:creationId xmlns:a16="http://schemas.microsoft.com/office/drawing/2014/main" id="{BAAC9AE4-0710-1948-67E9-69705E7A87B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035732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E348A-58F3-1E83-E4C4-2A177A0FB02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8C660D5-38D6-3EBE-2F7A-CB9122ACB6E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3F98BD4-A5F0-BE82-B7FE-AC6E019CC51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9A0EEDA1-8991-8072-884C-842D8E032D6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B71A5729-4D43-2E6F-6752-064B1235B68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E84C032-3149-A911-0C45-49CB7B25278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190BF6F-4C2C-0A31-C135-6610A24E8CF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D8CD11F-F6E5-DDF8-B10B-5A7F8CB934E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5DAD9B5-DEBD-D6E0-FD6D-D1A69881A57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DA2483D-C3B7-E08E-6E81-CD95ACDD5C9A}"/>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7C060C98-0116-9801-F399-12513146AE97}"/>
              </a:ext>
            </a:extLst>
          </p:cNvPr>
          <p:cNvSpPr>
            <a:spLocks noGrp="1"/>
          </p:cNvSpPr>
          <p:nvPr>
            <p:ph type="sldNum" sz="quarter" idx="16"/>
          </p:nvPr>
        </p:nvSpPr>
        <p:spPr/>
        <p:txBody>
          <a:bodyPr/>
          <a:lstStyle/>
          <a:p>
            <a:fld id="{7B1F438D-4EAF-094E-9162-80CF3EF77236}" type="slidenum">
              <a:rPr lang="en-US" smtClean="0"/>
              <a:pPr/>
              <a:t>28</a:t>
            </a:fld>
            <a:endParaRPr lang="en-US"/>
          </a:p>
        </p:txBody>
      </p:sp>
      <p:sp>
        <p:nvSpPr>
          <p:cNvPr id="22" name="Rectangle 21">
            <a:extLst>
              <a:ext uri="{FF2B5EF4-FFF2-40B4-BE49-F238E27FC236}">
                <a16:creationId xmlns:a16="http://schemas.microsoft.com/office/drawing/2014/main" id="{0891690F-753E-B82C-3707-B072ECD062E8}"/>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4D4644AF-67F6-9AF8-DA73-2094BD4291F7}"/>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5D4DB075-665E-90CC-51DD-A0929A75D48D}"/>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7A59EB56-E63F-24C3-7A51-C655553A1E54}"/>
              </a:ext>
            </a:extLst>
          </p:cNvPr>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4F88FE5-D179-B7B6-F905-1F691792154B}"/>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077494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83157-8717-E80E-194C-25DD5E6967A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16890E2-E8CA-8699-C203-6841B6BDA60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E45E6D8-6F69-6BD7-8915-4518BF75CEC4}"/>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8DBE9BA-1E74-4E7B-3AB8-E4DC05C46D7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79BE4D2-E26A-E107-E5DD-FBE43C78F0F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B9B3AAC-FD4C-F4F7-99F6-3C349D139FF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a:extLst>
              <a:ext uri="{FF2B5EF4-FFF2-40B4-BE49-F238E27FC236}">
                <a16:creationId xmlns:a16="http://schemas.microsoft.com/office/drawing/2014/main" id="{1A848544-A425-2167-1B03-D41F89F96DA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AA28722-6280-1DD0-E305-221A9EEDBB2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6B6E1F1-1D3A-86E2-DF09-E960341A8A0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33DE2CD-1FCE-A07A-B85D-6A7ECA33C7B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B676825-EC46-CC9D-2FE4-1252D29689DD}"/>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1B7CA6E5-E077-A952-AD70-C67476CCFBDB}"/>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59657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2C30E-48F4-6EE2-2848-ACAEAFD9CC54}"/>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B39FB333-A5E1-E121-F0BE-68A45321A561}"/>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FE82A392-9689-B613-B1EB-DB9C47BC427B}"/>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0D025C22-06FB-3734-C8C6-B7843FE417B7}"/>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98B2A575-5B6E-C07D-7E79-F8E622DB19E6}"/>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94F61AD7-3A6C-149D-42F6-01F309752BE4}"/>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67251E2A-B73F-7D05-F2B0-B22F27E5CD0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84E30722-BCB6-BF0E-5734-2775B2E6493B}"/>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81F36CD3-901A-AD63-C459-46939912CBA5}"/>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240F8244-B4CB-8F37-B022-C311CD5EFD65}"/>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C4CD1977-18C5-029B-1807-67938E48F61F}"/>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F7E976FE-6D0C-1EAF-BF7B-45F426863C44}"/>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2C8C2BF-76C2-9DE3-0806-C8814E18D241}"/>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62B36F89-6E4E-9763-2D37-8E6C70497F00}"/>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8FF7B5A4-A4F8-9B3B-9F69-72AFDA999D1B}"/>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15DE317D-EDFA-1214-5033-D62AFD5BE545}"/>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E7C316DB-E8F8-4280-55F6-6CF60D0E07A7}"/>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0A6C854E-D22F-4352-DEE5-3C056CD725B7}"/>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CE3A0287-3DEF-27A2-66F4-3CFF71BEE1B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05614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7E3B5-A712-C17A-5432-375D2B34BBF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57B63FF-8CD1-2D7D-E978-22FCCAE7AF8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43D7E5F-B3D7-8613-964B-FFDAE52C615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2A014C46-4422-D866-4A21-A1656D40A04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E6F27585-4599-E21B-773D-AEC2751CCB4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A598B9E-1A0B-7113-FBBB-CBF24967179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A191DE4-AECC-DDD8-9C94-CEFE3A64D84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E4C47C6-8143-56ED-06A9-76BA1EF0E85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4FB009F-FCF0-6EE4-3BB7-6CA493CBFD6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18BBB8A-0A95-DC42-36BD-4D36DB3F985F}"/>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058A9FF4-C1B8-C502-201A-9CF6C4734A25}"/>
              </a:ext>
            </a:extLst>
          </p:cNvPr>
          <p:cNvSpPr>
            <a:spLocks noGrp="1"/>
          </p:cNvSpPr>
          <p:nvPr>
            <p:ph type="sldNum" sz="quarter" idx="16"/>
          </p:nvPr>
        </p:nvSpPr>
        <p:spPr/>
        <p:txBody>
          <a:bodyPr/>
          <a:lstStyle/>
          <a:p>
            <a:fld id="{7B1F438D-4EAF-094E-9162-80CF3EF77236}" type="slidenum">
              <a:rPr lang="en-US" smtClean="0"/>
              <a:pPr/>
              <a:t>30</a:t>
            </a:fld>
            <a:endParaRPr lang="en-US"/>
          </a:p>
        </p:txBody>
      </p:sp>
      <p:sp>
        <p:nvSpPr>
          <p:cNvPr id="22" name="Rectangle 21">
            <a:extLst>
              <a:ext uri="{FF2B5EF4-FFF2-40B4-BE49-F238E27FC236}">
                <a16:creationId xmlns:a16="http://schemas.microsoft.com/office/drawing/2014/main" id="{183D7AC5-D943-F4B8-D77B-80AFE8128A6C}"/>
              </a:ext>
            </a:extLst>
          </p:cNvPr>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34B39FE-20D2-82D9-4580-F633DB0464A6}"/>
              </a:ext>
            </a:extLst>
          </p:cNvPr>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3D84B37C-D58C-04D6-9A05-CBDA9C680578}"/>
              </a:ext>
            </a:extLst>
          </p:cNvPr>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0CBCF1EA-055A-523E-E1DA-E2FDD38B7DFD}"/>
              </a:ext>
            </a:extLst>
          </p:cNvPr>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63069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6DE37-875B-5A40-473B-69BD7C92431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2354040-759E-C0FA-BE27-CBE8900B330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8EC4CA4-F79D-61C9-3276-7FF6EC4FCCE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425A78A-4779-1CE3-CECF-A1CD253249C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3227CC4-F777-AD48-4163-7FFB002076D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2BFD633A-6975-40D9-94F0-AE8C9A6BBAF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a:extLst>
              <a:ext uri="{FF2B5EF4-FFF2-40B4-BE49-F238E27FC236}">
                <a16:creationId xmlns:a16="http://schemas.microsoft.com/office/drawing/2014/main" id="{047F3A11-C86D-F1D1-339E-576A54FC4CC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1DBC94F-1009-9397-6487-91E68AFD66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B3E402C-B5FD-3BD3-CC23-EDA551DD585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8EDA068-85DC-95D9-C71A-6E0A5294399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A6656FD-1C3F-0887-C74E-2D28E5EB8BCD}"/>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780B65E-0F0E-6E86-974D-1ECB7DC8627D}"/>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8674146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929C9-11DF-DF76-D250-345C61F55F7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BA333C-C21E-9221-BEBB-3C4AD71C25B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25C583E-95E1-2117-42D7-881877DA65D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3736ABB-216F-9904-AA7D-13757ACAD3C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AB96FC1E-C0AF-8FC6-2F4F-1E92A7FF081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05DC3B7-B264-791A-651F-F27D7F29E86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A421BD8-7860-3BB6-9866-1B0977A59C9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EE27819-92A8-F2CB-B823-1E37FB70CB0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6BF542A-18C7-7D23-032B-EDC3B89A77D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E893980-34DB-F554-758F-865897679E2B}"/>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A4C64B1-0523-2BB5-6511-A80918698B94}"/>
              </a:ext>
            </a:extLst>
          </p:cNvPr>
          <p:cNvSpPr>
            <a:spLocks noGrp="1"/>
          </p:cNvSpPr>
          <p:nvPr>
            <p:ph type="sldNum" sz="quarter" idx="16"/>
          </p:nvPr>
        </p:nvSpPr>
        <p:spPr/>
        <p:txBody>
          <a:bodyPr/>
          <a:lstStyle/>
          <a:p>
            <a:fld id="{7B1F438D-4EAF-094E-9162-80CF3EF77236}" type="slidenum">
              <a:rPr lang="en-US" smtClean="0"/>
              <a:pPr/>
              <a:t>32</a:t>
            </a:fld>
            <a:endParaRPr lang="en-US"/>
          </a:p>
        </p:txBody>
      </p:sp>
      <p:sp>
        <p:nvSpPr>
          <p:cNvPr id="22" name="Rectangle 21">
            <a:extLst>
              <a:ext uri="{FF2B5EF4-FFF2-40B4-BE49-F238E27FC236}">
                <a16:creationId xmlns:a16="http://schemas.microsoft.com/office/drawing/2014/main" id="{56972AA2-D814-1288-DC59-465824020971}"/>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A7D0E8B-BBBB-D77B-E41D-1D122D19C367}"/>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A39909BF-4CD2-5422-FA97-03EAD463A607}"/>
              </a:ext>
            </a:extLst>
          </p:cNvPr>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53A22C34-D696-54AA-BFAB-2D357765E27E}"/>
              </a:ext>
            </a:extLst>
          </p:cNvPr>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95CBC00C-B5B1-9AD5-9B0A-82770A6ADB66}"/>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098300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9311E-A47F-4F32-481C-0712CF5EE58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A6F4F26-3439-FBF5-7453-BF1E3FD689E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2FDF957-9061-AC94-4E2B-B933BACBCAE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BB31ED7-FB9A-6025-8DBE-64D1BAC886A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1C1E3D6-2477-4558-0486-44BCB51653C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08E0777-C189-385F-594E-082A224F59F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a:extLst>
              <a:ext uri="{FF2B5EF4-FFF2-40B4-BE49-F238E27FC236}">
                <a16:creationId xmlns:a16="http://schemas.microsoft.com/office/drawing/2014/main" id="{16FC4F7C-397C-4DC6-F25C-D4B5F96F00A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E53651F-9BEB-0A43-EBD1-71EDC50659E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1726753-39F9-678F-4C59-B73D3502C11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07E3ED5-1AB3-94D6-167D-638BCFAB5E6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C619786-2482-83C1-07E7-AB0F5E7641D3}"/>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BF0B4EE-2204-4BAB-EA15-E0ED87AE87C6}"/>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7019164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CDFCC-7E87-F167-6AD8-7644621AAB7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2403111-AD20-9407-BD18-1805A44005E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7F9F842-4F8C-5EEB-A51E-41ACAAB7965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64328B0-53EF-B8BA-443D-E3D2F3C8AA2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7ADFB10A-46BC-42D5-C158-76D21E6F99B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CEF5C31-28F4-AFB1-DCD8-21CF92F8D7E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4AA786B-A64E-2225-65D8-B95857D1262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0F58F85-ABD7-6ADE-7B4E-8DF4793FCA3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EC31AC2-AB24-6B8C-89CC-638AFB5DF18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58B31E7-D46A-E4FA-8F73-BCE840CAE91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2B12DF50-218C-3ED3-1E5D-04B7A74346F4}"/>
              </a:ext>
            </a:extLst>
          </p:cNvPr>
          <p:cNvSpPr>
            <a:spLocks noGrp="1"/>
          </p:cNvSpPr>
          <p:nvPr>
            <p:ph type="sldNum" sz="quarter" idx="16"/>
          </p:nvPr>
        </p:nvSpPr>
        <p:spPr/>
        <p:txBody>
          <a:bodyPr/>
          <a:lstStyle/>
          <a:p>
            <a:fld id="{7B1F438D-4EAF-094E-9162-80CF3EF77236}" type="slidenum">
              <a:rPr lang="en-US" smtClean="0"/>
              <a:pPr/>
              <a:t>34</a:t>
            </a:fld>
            <a:endParaRPr lang="en-US"/>
          </a:p>
        </p:txBody>
      </p:sp>
      <p:sp>
        <p:nvSpPr>
          <p:cNvPr id="22" name="Rectangle 21">
            <a:extLst>
              <a:ext uri="{FF2B5EF4-FFF2-40B4-BE49-F238E27FC236}">
                <a16:creationId xmlns:a16="http://schemas.microsoft.com/office/drawing/2014/main" id="{3F36F11F-9E60-8693-A1EA-52989472BF32}"/>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57E606E-1A44-6F6A-E3C4-808081CDC55F}"/>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E8552A72-7243-827F-2406-41CC7F5EA95C}"/>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188903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3BE050-C65C-83A9-0AA0-CE34762F967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07B856D-DE9B-813B-0490-AF737687AC8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4704115-0A56-065E-CAF1-67F16076CC6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804A595-04EB-0CCC-F5BD-BED2899C988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16F1CAB-8171-95A1-0697-0E2F36F7D53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4EBEEDD-FA2A-909E-3311-55AAF11DFBD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a:extLst>
              <a:ext uri="{FF2B5EF4-FFF2-40B4-BE49-F238E27FC236}">
                <a16:creationId xmlns:a16="http://schemas.microsoft.com/office/drawing/2014/main" id="{BF6ECD0B-91CC-992B-92B3-9CC67340AD2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B4F2999-5F5F-9ACF-E66D-D2B57C99588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20A36B0-4AC9-D405-BDA2-09347FBB2DB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B4109DA-4554-AB91-D54B-6D9CD178F14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A1663CE-23E2-0373-39BC-BBC2F5A14C80}"/>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3BB4DC6-7D96-56B0-21CF-F0ACD576E968}"/>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3459884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31EC1-CB36-6CAA-E8A7-94F6170CE5C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EF01706-8585-7B08-B3C6-DA1C851CE9C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78AE24F-5292-3816-CE02-2092C98EABE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10219EBC-6A4D-BF93-D849-0FA765170222}"/>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E3D2594F-B1E2-C7A0-99C4-20C56A9EF8B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7314A32-AC6C-9218-FC4F-C36E4C10CB10}"/>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2D13B25-B30F-3FE3-3A1D-7485140D1B3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AF74A06-C3E7-7BCF-5E81-A76A1F24C340}"/>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935B7D16-4647-355C-F24E-0CA68AC34F3B}"/>
              </a:ext>
            </a:extLst>
          </p:cNvPr>
          <p:cNvSpPr>
            <a:spLocks noGrp="1"/>
          </p:cNvSpPr>
          <p:nvPr>
            <p:ph type="sldNum" sz="quarter" idx="16"/>
          </p:nvPr>
        </p:nvSpPr>
        <p:spPr/>
        <p:txBody>
          <a:bodyPr/>
          <a:lstStyle/>
          <a:p>
            <a:fld id="{7B1F438D-4EAF-094E-9162-80CF3EF77236}" type="slidenum">
              <a:rPr lang="en-US" smtClean="0"/>
              <a:pPr/>
              <a:t>36</a:t>
            </a:fld>
            <a:endParaRPr lang="en-US"/>
          </a:p>
        </p:txBody>
      </p:sp>
      <p:sp>
        <p:nvSpPr>
          <p:cNvPr id="3" name="TextBox Y">
            <a:extLst>
              <a:ext uri="{FF2B5EF4-FFF2-40B4-BE49-F238E27FC236}">
                <a16:creationId xmlns:a16="http://schemas.microsoft.com/office/drawing/2014/main" id="{8C94F5D4-77C5-D44C-4228-18AB9FD82D0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257144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82BB3-2353-2140-F2CF-BCF390137E1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CF1B866-6267-0D08-ECF9-2A95A0B15C1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56DB485-AE36-B471-66BE-B94C4854D89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0D3A495-FBA7-D8F1-8AFC-E0F030C58ED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8A79554B-ACEE-F871-FF18-6F33BE1ED6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317135-1679-1E11-2EBA-878AD168409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7161F39-9401-75C3-FFC7-6F9CA81D143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C1C5E0E-742B-B037-232D-E21C1C37653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F238FE6-3CA0-4CE6-8B47-CAFDB6B407E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374C9B6-BF48-130A-DAEE-A0BD003A7DF4}"/>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8DB3239D-2300-6FA9-4FBB-38266AB0BA1C}"/>
              </a:ext>
            </a:extLst>
          </p:cNvPr>
          <p:cNvSpPr>
            <a:spLocks noGrp="1"/>
          </p:cNvSpPr>
          <p:nvPr>
            <p:ph type="sldNum" sz="quarter" idx="16"/>
          </p:nvPr>
        </p:nvSpPr>
        <p:spPr/>
        <p:txBody>
          <a:bodyPr/>
          <a:lstStyle/>
          <a:p>
            <a:fld id="{7B1F438D-4EAF-094E-9162-80CF3EF77236}" type="slidenum">
              <a:rPr lang="en-US" smtClean="0"/>
              <a:pPr/>
              <a:t>37</a:t>
            </a:fld>
            <a:endParaRPr lang="en-US"/>
          </a:p>
        </p:txBody>
      </p:sp>
      <p:sp>
        <p:nvSpPr>
          <p:cNvPr id="22" name="Rectangle 21">
            <a:extLst>
              <a:ext uri="{FF2B5EF4-FFF2-40B4-BE49-F238E27FC236}">
                <a16:creationId xmlns:a16="http://schemas.microsoft.com/office/drawing/2014/main" id="{C2256FE3-0E9B-8780-A03D-DE50BCC05135}"/>
              </a:ext>
            </a:extLst>
          </p:cNvPr>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581D83F-3908-B357-DF3B-B275E8CAA581}"/>
              </a:ext>
            </a:extLst>
          </p:cNvPr>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65A6AAF3-EB63-2B7C-73F1-1971C87EAEDF}"/>
              </a:ext>
            </a:extLst>
          </p:cNvPr>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66C09DB-E464-3DBE-042F-6482BD58668E}"/>
              </a:ext>
            </a:extLst>
          </p:cNvPr>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017612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25436-C898-771E-1788-93703953826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28E2C2E-5BE7-4A78-A305-C8691E96617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88186DC-8B13-0CEB-171D-F0A4F2C0B6E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49499A2-B048-0714-8F86-AA91A6E6C61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31FA715-92F1-9D2E-742C-2289A023C74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D61FD6F9-AE4A-9E52-78F0-90823A5FFC6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a:extLst>
              <a:ext uri="{FF2B5EF4-FFF2-40B4-BE49-F238E27FC236}">
                <a16:creationId xmlns:a16="http://schemas.microsoft.com/office/drawing/2014/main" id="{DAE4DAF5-E0D2-1964-6CDE-C205EFA2443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5213730-BAED-5B80-FA5A-86C17E0306D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A0A3D4E-0A71-96C0-DE0B-241CB1B8DB2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AEFC060-678E-9BD6-2419-6C2C629FF1A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07FB968-0901-E4DD-9DD8-09D7B97F8315}"/>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D04E3EA-A54F-49A5-4078-20BD37BD9DC1}"/>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8136323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2EFF8-A862-A712-539C-111BA39D735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B0E7877-E0F9-F94B-1EB7-C7945C4DCA5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251770B-825E-4BE5-1A57-C9CAE401472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5B5DFD0-87D2-D574-B400-FAB5DB61131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6E063D45-8F6A-5349-7E7A-D3575C6DF05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F5C405B-9E7E-9733-81E2-1FCAD52BBCC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4C6A481-0917-2342-7715-910DD86AE80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3FBE169-EF8E-8547-0090-6A77C642020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B71E3DE-1330-1A2C-5ABB-6A2BF806248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FFACA1A-1B8C-FB28-5E5D-81E6D6E9984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4380F12D-CB63-CA64-B440-FFC9E5947209}"/>
              </a:ext>
            </a:extLst>
          </p:cNvPr>
          <p:cNvSpPr>
            <a:spLocks noGrp="1"/>
          </p:cNvSpPr>
          <p:nvPr>
            <p:ph type="sldNum" sz="quarter" idx="16"/>
          </p:nvPr>
        </p:nvSpPr>
        <p:spPr/>
        <p:txBody>
          <a:bodyPr/>
          <a:lstStyle/>
          <a:p>
            <a:fld id="{7B1F438D-4EAF-094E-9162-80CF3EF77236}" type="slidenum">
              <a:rPr lang="en-US" smtClean="0"/>
              <a:pPr/>
              <a:t>39</a:t>
            </a:fld>
            <a:endParaRPr lang="en-US"/>
          </a:p>
        </p:txBody>
      </p:sp>
      <p:sp>
        <p:nvSpPr>
          <p:cNvPr id="22" name="Rectangle 21">
            <a:extLst>
              <a:ext uri="{FF2B5EF4-FFF2-40B4-BE49-F238E27FC236}">
                <a16:creationId xmlns:a16="http://schemas.microsoft.com/office/drawing/2014/main" id="{101A93D1-8886-2C6B-ED60-FF4D0F338983}"/>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FD40897-9397-F09B-26CE-1303B4759431}"/>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23EA358B-4C36-9569-B6C6-F525A676D2E8}"/>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9303E84E-18E2-B8EA-5D4D-78F9826CDB8C}"/>
              </a:ext>
            </a:extLst>
          </p:cNvPr>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6A0EF698-1A0B-FC58-83D7-5502553BB1D3}"/>
              </a:ext>
            </a:extLst>
          </p:cNvPr>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721482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E42E6-5C86-2B93-4D9E-87D9A3371EA8}"/>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1C92366D-23F9-1792-744C-84EF5BC09188}"/>
              </a:ext>
            </a:extLst>
          </p:cNvPr>
          <p:cNvSpPr/>
          <p:nvPr/>
        </p:nvSpPr>
        <p:spPr>
          <a:xfrm>
            <a:off x="3216214" y="2778888"/>
            <a:ext cx="5273581"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E0B277CE-5C76-7F21-1314-A3B1BAC8D7A7}"/>
              </a:ext>
            </a:extLst>
          </p:cNvPr>
          <p:cNvSpPr/>
          <p:nvPr/>
        </p:nvSpPr>
        <p:spPr>
          <a:xfrm>
            <a:off x="1458354" y="2778888"/>
            <a:ext cx="1757860"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FD3EFA09-A995-07DA-81B1-C56A50E5522E}"/>
              </a:ext>
            </a:extLst>
          </p:cNvPr>
          <p:cNvSpPr/>
          <p:nvPr/>
        </p:nvSpPr>
        <p:spPr>
          <a:xfrm>
            <a:off x="1458354" y="1226634"/>
            <a:ext cx="1757860"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701308FB-A61A-8226-FE58-4002BC4FEF6C}"/>
              </a:ext>
            </a:extLst>
          </p:cNvPr>
          <p:cNvSpPr/>
          <p:nvPr/>
        </p:nvSpPr>
        <p:spPr>
          <a:xfrm>
            <a:off x="3216214" y="1226634"/>
            <a:ext cx="5273581"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8E0B138-8803-3D1F-210E-6DF3191408F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3EFC5187-CDC2-3755-D984-429B2B5D8E6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FDED8C8A-8421-4A88-6538-90146BE35B2A}"/>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E4637F24-6DE5-1558-C978-1435F154BA6E}"/>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346D45D3-4634-D4C5-E2FE-DB631CE072FB}"/>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BB1E318E-125A-A94F-ED0A-659876D770E2}"/>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8CD7DEE2-3B0D-89A3-BCB4-6A51A0BA3E63}"/>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99534D6A-8962-8BE4-E31A-A49B4D1CC586}"/>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A04101C3-55CB-6573-4146-F6FB36BA3ED8}"/>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C0C957A2-5F56-D945-255B-E2326A6C6E30}"/>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CB4F471E-5EE4-CA7D-8FF3-E6B49F83E6B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0B6BB686-7A91-0AB5-9011-BBCDF6312092}"/>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6713D6BA-2C22-A1DC-9A46-C6E7C2AF8D8D}"/>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C4B04A96-67CF-A009-EAD0-4DA2739EA48A}"/>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615971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C2F1A-E6E8-4D2E-EA2D-341CB25212F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D8DC3C-A4C4-165B-7202-558893BA13C5}"/>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307F25E-4A71-C3F6-D5FF-9D54C178F7A4}"/>
              </a:ext>
            </a:extLst>
          </p:cNvPr>
          <p:cNvGraphicFramePr>
            <a:graphicFrameLocks noGrp="1"/>
          </p:cNvGraphicFramePr>
          <p:nvPr/>
        </p:nvGraphicFramePr>
        <p:xfrm>
          <a:off x="4645532" y="1133206"/>
          <a:ext cx="3994468" cy="3713643"/>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0CAB565-4DD3-1572-123B-D999660F30D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C82A587-6A4E-46DC-BD86-8E4721F9EA1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1E0FD18-8B84-A0BC-193D-CF4E8A34EE0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a:extLst>
              <a:ext uri="{FF2B5EF4-FFF2-40B4-BE49-F238E27FC236}">
                <a16:creationId xmlns:a16="http://schemas.microsoft.com/office/drawing/2014/main" id="{D3EBD83F-4E51-E95C-0BED-2E2911420AE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F4763CC-E885-C91E-EA9B-725A0D258EF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07F3836-FA26-62FF-946E-98F18E459EC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235A492-51B5-1FD1-4F5F-66D7C72E74F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AB91FAF-4ACF-A82B-1DB6-EFC5EFAC4064}"/>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B695261-895D-88EC-A2F5-6A4B4C9E0B4B}"/>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6931433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55AED-4E47-52AE-878A-C7E2AAF9645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BBF4973-F8F8-7038-D9A0-1F7A349850D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4323A82-DA35-6D80-BE3B-3C9E9B0D7A1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6101FBC-4BD6-99E4-E6DE-E91BCD2027E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6523F909-9DC9-8F8B-7509-3BE4F31FEEE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55D7E6A-E53A-F77D-51AA-12EF70B1525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443E887-1ACC-A5A3-158E-D0CFCDE73EB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F3C821A-1C54-C549-6ECB-FCCEA6E3D0D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E669FAB-1059-269A-A901-342DBDD0609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9B5160A-DFE8-14C9-DD41-2A584A00295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7BF64BA-4650-9B21-C9CF-0FE982E36A1C}"/>
              </a:ext>
            </a:extLst>
          </p:cNvPr>
          <p:cNvSpPr>
            <a:spLocks noGrp="1"/>
          </p:cNvSpPr>
          <p:nvPr>
            <p:ph type="sldNum" sz="quarter" idx="16"/>
          </p:nvPr>
        </p:nvSpPr>
        <p:spPr/>
        <p:txBody>
          <a:bodyPr/>
          <a:lstStyle/>
          <a:p>
            <a:fld id="{7B1F438D-4EAF-094E-9162-80CF3EF77236}" type="slidenum">
              <a:rPr lang="en-US" smtClean="0"/>
              <a:pPr/>
              <a:t>41</a:t>
            </a:fld>
            <a:endParaRPr lang="en-US"/>
          </a:p>
        </p:txBody>
      </p:sp>
      <p:sp>
        <p:nvSpPr>
          <p:cNvPr id="22" name="Rectangle 21">
            <a:extLst>
              <a:ext uri="{FF2B5EF4-FFF2-40B4-BE49-F238E27FC236}">
                <a16:creationId xmlns:a16="http://schemas.microsoft.com/office/drawing/2014/main" id="{E35ADA62-4A01-7743-6BBE-DAE800A97E30}"/>
              </a:ext>
            </a:extLst>
          </p:cNvPr>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6CD93333-8490-8184-4879-1962A751EC63}"/>
              </a:ext>
            </a:extLst>
          </p:cNvPr>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3CF0C30B-74C6-A999-D597-875182587C0E}"/>
              </a:ext>
            </a:extLst>
          </p:cNvPr>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ED847C2-8761-99D4-F249-6BC761B92E0D}"/>
              </a:ext>
            </a:extLst>
          </p:cNvPr>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282B1E18-5621-ADEB-9A96-B64B07932D2F}"/>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181891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DF733-9BBC-60B4-A27D-B8D406C3C9F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5546480-4629-CC60-9D48-3D3361658D3E}"/>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739CD9E-44C4-29BA-7951-3CE12B759BC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6E47EBE-F5FE-73DC-811B-FC37928C98D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48A44AC-C4A5-4C7E-D0DD-4EC4FBC6F31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06E5028F-FC65-7BFB-BC38-5B09097E0B2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a:extLst>
              <a:ext uri="{FF2B5EF4-FFF2-40B4-BE49-F238E27FC236}">
                <a16:creationId xmlns:a16="http://schemas.microsoft.com/office/drawing/2014/main" id="{4FB7374B-5C61-0185-119B-450633AFD4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EAAE82B-9DE1-A248-7B07-FF05C8B6756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D2D5485-FF2C-5731-FD02-AF9F8E85F12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DA0A228-37AD-B688-8DFB-2B18848F6F7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DBBB231-D97E-904A-0666-70F38217728B}"/>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1D1CD63A-6408-B11C-03E0-63FE0E166E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28619638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7C826-432B-3238-9967-E170AA7B360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3FC7E03-E496-271C-F825-FD47021E182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48091FE-B095-1A4A-8DD0-4C011DE99C9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F5A07D9D-A184-14EB-F338-F4D7CD443FB7}"/>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5F11AD24-86C2-35BB-4B09-86F06BB30FA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72227DE-A554-CFFE-2485-63DCBFF02237}"/>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99A412F9-B0CC-CD8F-79F9-7E40ED300F2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CA9A3FA-D6EB-7D98-AFE4-7B8A218268F7}"/>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6DF51FDB-BCAD-EE3F-9B1E-9069A034FD97}"/>
              </a:ext>
            </a:extLst>
          </p:cNvPr>
          <p:cNvSpPr>
            <a:spLocks noGrp="1"/>
          </p:cNvSpPr>
          <p:nvPr>
            <p:ph type="sldNum" sz="quarter" idx="16"/>
          </p:nvPr>
        </p:nvSpPr>
        <p:spPr/>
        <p:txBody>
          <a:bodyPr/>
          <a:lstStyle/>
          <a:p>
            <a:fld id="{7B1F438D-4EAF-094E-9162-80CF3EF77236}" type="slidenum">
              <a:rPr lang="en-US" smtClean="0"/>
              <a:pPr/>
              <a:t>43</a:t>
            </a:fld>
            <a:endParaRPr lang="en-US"/>
          </a:p>
        </p:txBody>
      </p:sp>
      <p:sp>
        <p:nvSpPr>
          <p:cNvPr id="3" name="TextBox Y">
            <a:extLst>
              <a:ext uri="{FF2B5EF4-FFF2-40B4-BE49-F238E27FC236}">
                <a16:creationId xmlns:a16="http://schemas.microsoft.com/office/drawing/2014/main" id="{E2821614-EDC1-B601-0B89-A535D1F5880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93493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DFFA5-450B-864B-E861-D8B9B3B7535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2836EB3-8905-6D9B-6B23-1FD77901286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DA0A56A-01F9-6554-7FC0-6441B60EB49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3587C70-E1B7-A193-5FD6-763E826CB3D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06F0DDEF-ABCE-7454-7BE9-1A1FC59A01F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F29206F-EE28-C814-53AC-306AED907F5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1AF2BBA-75C2-36A5-539B-E6E1106CD74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2ADD1DF-EA3C-B0BD-7FAD-FCF5336451F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AB3B743-3A4B-7A9F-CE09-EF4760A861A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29B73E3-8DF3-DB27-5B4B-3CC5C66AA51A}"/>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1A307DB8-6392-2F1D-4265-BF10810792D8}"/>
              </a:ext>
            </a:extLst>
          </p:cNvPr>
          <p:cNvSpPr>
            <a:spLocks noGrp="1"/>
          </p:cNvSpPr>
          <p:nvPr>
            <p:ph type="sldNum" sz="quarter" idx="16"/>
          </p:nvPr>
        </p:nvSpPr>
        <p:spPr/>
        <p:txBody>
          <a:bodyPr/>
          <a:lstStyle/>
          <a:p>
            <a:fld id="{7B1F438D-4EAF-094E-9162-80CF3EF77236}" type="slidenum">
              <a:rPr lang="en-US" smtClean="0"/>
              <a:pPr/>
              <a:t>44</a:t>
            </a:fld>
            <a:endParaRPr lang="en-US"/>
          </a:p>
        </p:txBody>
      </p:sp>
      <p:sp>
        <p:nvSpPr>
          <p:cNvPr id="22" name="Rectangle 21">
            <a:extLst>
              <a:ext uri="{FF2B5EF4-FFF2-40B4-BE49-F238E27FC236}">
                <a16:creationId xmlns:a16="http://schemas.microsoft.com/office/drawing/2014/main" id="{3E2CB739-7595-B9B7-D394-5737A55DB1D3}"/>
              </a:ext>
            </a:extLst>
          </p:cNvPr>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A6B8B942-66B1-BE53-0614-BD3B734315EE}"/>
              </a:ext>
            </a:extLst>
          </p:cNvPr>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BBCEF68F-AE3D-8AB2-B407-956B176EBB68}"/>
              </a:ext>
            </a:extLst>
          </p:cNvPr>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403EC7E2-AE14-F182-DF31-A197BDAFE03D}"/>
              </a:ext>
            </a:extLst>
          </p:cNvPr>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64126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4FC9DB-F6A7-FF68-490E-9E25032CA97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E61EC20-6E20-5BC1-D283-0B3AC250E27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78C76C3-598E-D942-E393-588F9FDB840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FC4A296-1399-F3C9-D5B7-80E50F2BDC5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6E4B00E-4F8C-AF5D-6D45-9B2F7DFCB04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EA043FD-A7BB-1282-6C60-F618B194C32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a:extLst>
              <a:ext uri="{FF2B5EF4-FFF2-40B4-BE49-F238E27FC236}">
                <a16:creationId xmlns:a16="http://schemas.microsoft.com/office/drawing/2014/main" id="{862D1EDF-C772-2894-B1E6-459A0A36475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F4B34ED-151F-BE08-3BFE-C74B64519FD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F608EB6-4FEC-BCA2-4A71-6A31465EAD5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F1BC4F3-F783-5EC4-2157-DA646C2072F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295BF66-271B-48EF-844F-9D6D8F06BE0D}"/>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7DBF04EE-30AC-6031-3494-184CEBB9534E}"/>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14450445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E5B80-AB7F-08C5-A3AD-17F6EC7C738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BF8C8FA-0509-7BDA-589C-F3B57EFECDF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C9BC645-4C07-BB29-4C18-3B852EF01A6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8585A35-B02E-8416-9805-F78C4169546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1AC44675-738D-D73B-3A7A-62A6EF6F7C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99E9462-776D-5EE8-A608-AEABA2181B6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0BDAA14-4F14-5957-F7C6-E40F608D3B6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646521B-544B-DBF4-A957-507B8371EB5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6E5433F-0ABB-88DF-2488-508FECABB4F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51917CF-34A1-2019-25C9-6944AD57238A}"/>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F86A0CB6-F44B-62F6-7DE2-D51FF768A7CF}"/>
              </a:ext>
            </a:extLst>
          </p:cNvPr>
          <p:cNvSpPr>
            <a:spLocks noGrp="1"/>
          </p:cNvSpPr>
          <p:nvPr>
            <p:ph type="sldNum" sz="quarter" idx="16"/>
          </p:nvPr>
        </p:nvSpPr>
        <p:spPr/>
        <p:txBody>
          <a:bodyPr/>
          <a:lstStyle/>
          <a:p>
            <a:fld id="{7B1F438D-4EAF-094E-9162-80CF3EF77236}" type="slidenum">
              <a:rPr lang="en-US" smtClean="0"/>
              <a:pPr/>
              <a:t>46</a:t>
            </a:fld>
            <a:endParaRPr lang="en-US"/>
          </a:p>
        </p:txBody>
      </p:sp>
      <p:sp>
        <p:nvSpPr>
          <p:cNvPr id="22" name="Rectangle 21">
            <a:extLst>
              <a:ext uri="{FF2B5EF4-FFF2-40B4-BE49-F238E27FC236}">
                <a16:creationId xmlns:a16="http://schemas.microsoft.com/office/drawing/2014/main" id="{E5BA337C-4A38-5825-0878-73867361EEB5}"/>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89345F4-CC9A-70F3-3B1E-F6687D348241}"/>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CDB5873B-0209-E4CB-F534-C1F9944E8226}"/>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656FBBE-C28C-95A7-3278-A2DA057470B2}"/>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71E02EDF-CCFA-EDE5-D7DF-72B05FB3463C}"/>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41586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E145C-D2B3-944C-81F8-CF08440F3B9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07C77DD-728D-405F-D23A-B80FE5E3D6F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8EFC4BF-D45F-E9BC-AC56-74498518637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FF8C46B-C4A7-DC39-1083-2E941FA6F9C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33C911C-E190-96F1-C145-461AD8171C1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C4B111-64AD-BEB2-8294-046DF5B1C0F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a:extLst>
              <a:ext uri="{FF2B5EF4-FFF2-40B4-BE49-F238E27FC236}">
                <a16:creationId xmlns:a16="http://schemas.microsoft.com/office/drawing/2014/main" id="{125BC8ED-4DAA-A1B3-D2C8-61E4DE16634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BFBD975-E14D-E79E-0A6D-21AB55ACF55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D066DFC-E466-60C0-DE15-2C4F203A3A0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E6C6B0A-1F3A-1EF5-E70A-F8FD4E2F588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7DDFA10-69ED-8D8D-DAA7-10F6F7505407}"/>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E1715E0-B0D9-15A1-5A23-B0CDB8E48771}"/>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1184711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328E0-26FA-0E5E-D70D-5DC9C8D14F4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A5E3C88-9D10-77D6-8CBB-B5FBC606D47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AB8A8BE-E432-C996-A3D1-4339A64487F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F96E4070-FE09-ECA8-2B36-B40541BFD03F}"/>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ECFFBA9D-B4F2-7AA1-4FAB-4DBA3F265E6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9102609-572B-4100-835F-140C463234AC}"/>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5E90A21-1483-265C-43F0-1EA0C3CCC646}"/>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2980B9C-4579-6E70-78E2-FACFFBA55500}"/>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F7F73-5018-2462-5D79-BBACD7C9E946}"/>
              </a:ext>
            </a:extLst>
          </p:cNvPr>
          <p:cNvSpPr>
            <a:spLocks noGrp="1"/>
          </p:cNvSpPr>
          <p:nvPr>
            <p:ph type="sldNum" sz="quarter" idx="16"/>
          </p:nvPr>
        </p:nvSpPr>
        <p:spPr/>
        <p:txBody>
          <a:bodyPr/>
          <a:lstStyle/>
          <a:p>
            <a:fld id="{7B1F438D-4EAF-094E-9162-80CF3EF77236}" type="slidenum">
              <a:rPr lang="en-US" smtClean="0"/>
              <a:pPr/>
              <a:t>48</a:t>
            </a:fld>
            <a:endParaRPr lang="en-US"/>
          </a:p>
        </p:txBody>
      </p:sp>
      <p:sp>
        <p:nvSpPr>
          <p:cNvPr id="3" name="TextBox Y">
            <a:extLst>
              <a:ext uri="{FF2B5EF4-FFF2-40B4-BE49-F238E27FC236}">
                <a16:creationId xmlns:a16="http://schemas.microsoft.com/office/drawing/2014/main" id="{D48E0D35-2CC4-10E5-720F-BBE04D5A595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722422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004D1-A1AD-F939-631C-5B3B772D122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8279E37-D63F-7273-FC49-095421D272A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CC13101-3BE1-CEEE-28D1-B500033C9C0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9D3B145D-B8D6-7314-0825-20554EB5B2D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6A3CD106-4AAB-98E1-41BE-56FC6B7670D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D956DF7-D7B4-1B12-5A9F-B4EAF729213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6343615-3373-19DB-3206-13A4737D3F5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D45939F-3560-02F5-5E26-5A28332649E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5296CA0-064F-B8D4-4218-F0FBBDEA184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BCD54B4-4122-3566-EA46-DE286C40A32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6E85C79-5F16-BFBD-FB36-1540187FE3D1}"/>
              </a:ext>
            </a:extLst>
          </p:cNvPr>
          <p:cNvSpPr>
            <a:spLocks noGrp="1"/>
          </p:cNvSpPr>
          <p:nvPr>
            <p:ph type="sldNum" sz="quarter" idx="16"/>
          </p:nvPr>
        </p:nvSpPr>
        <p:spPr/>
        <p:txBody>
          <a:bodyPr/>
          <a:lstStyle/>
          <a:p>
            <a:fld id="{7B1F438D-4EAF-094E-9162-80CF3EF77236}" type="slidenum">
              <a:rPr lang="en-US" smtClean="0"/>
              <a:pPr/>
              <a:t>49</a:t>
            </a:fld>
            <a:endParaRPr lang="en-US"/>
          </a:p>
        </p:txBody>
      </p:sp>
      <p:sp>
        <p:nvSpPr>
          <p:cNvPr id="22" name="Rectangle 21">
            <a:extLst>
              <a:ext uri="{FF2B5EF4-FFF2-40B4-BE49-F238E27FC236}">
                <a16:creationId xmlns:a16="http://schemas.microsoft.com/office/drawing/2014/main" id="{D5578CB2-17D0-99F6-A6F2-1161B9CBE7E4}"/>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13335BC4-1187-8FD8-857D-F939189DCA76}"/>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A423AABA-DC63-ABB8-C957-B31368037AC5}"/>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AD973D3D-257D-F5A2-E324-669CBB8B6CE8}"/>
              </a:ext>
            </a:extLst>
          </p:cNvPr>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8BCE769C-4BC7-B314-F471-8A5D416C648E}"/>
              </a:ext>
            </a:extLst>
          </p:cNvPr>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889137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13C25-BE87-F74D-BB22-0E91DCAF760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B2D4EA1-29B5-4784-9BE6-FFD5DB0DF232}"/>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AC0B848-F3B2-BD9F-603D-21253BEC49D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27402BF-FBAB-960C-E1A9-A57D21FDD6E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A08B023-485F-D193-9748-B8FC15DA184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A25BFEA0-4C13-4038-20D4-0D0921B3CD8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a:extLst>
              <a:ext uri="{FF2B5EF4-FFF2-40B4-BE49-F238E27FC236}">
                <a16:creationId xmlns:a16="http://schemas.microsoft.com/office/drawing/2014/main" id="{C2273523-81CD-A344-D0C2-9AD0F7A70DF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0EFEB6D-E17F-1E32-0702-D9FF73D1B2C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B734058-E4E9-453B-25FD-BA268726283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1897AC3E-308B-DE52-3E13-19FFDD17DAA1}"/>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30645A22-8D1D-9CFB-1F81-50B7FCCEFB06}"/>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6434682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12969-B292-9FFC-9E19-AB39613C1B1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6820354-A9DA-17E7-827C-A7615B06958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6A57CE4-6355-A91C-129C-24C8256CA44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AAAC43D-51FC-154A-82CD-D052E4B47FB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69A3037-E09C-4634-DC2D-040429114FB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FC4C0AF-5145-CE6B-80B8-BF7063AA890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a:extLst>
              <a:ext uri="{FF2B5EF4-FFF2-40B4-BE49-F238E27FC236}">
                <a16:creationId xmlns:a16="http://schemas.microsoft.com/office/drawing/2014/main" id="{F54E6FC9-A2EF-6D94-1765-A010129D5B5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98CAE0B-A4BF-0CA2-DC8D-B86AA796A5A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066DB44-3536-AD08-1FC6-05902B1DCFB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B5CDC40-61C0-7F95-35B7-413F8FD9345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AFEF5F5-BAD3-3C51-DBB4-E832A883DC44}"/>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667F6141-BA47-1C24-E78B-487C0D2CEC08}"/>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6676843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F48FD-A41A-5A52-E48B-9E79363891B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3D929A9-7811-7447-79E6-8B40911FB84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7C938CD-E6B7-6909-74F2-8DA1565EBFE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A862DEE3-6D94-CBBF-5A0E-39CE8DF4E7A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244469DB-9609-59F7-B02B-3A2A64F1FB4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3A0A43C-6C23-9C02-5038-7D51C4D0A71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AAE452B-E5D6-1C91-39C9-0AF65E31D78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031EECB-5C9B-D92C-6AF0-FF4E88015E1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7F3A523-3430-46B8-3E5A-AAF42B578A3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307CC31-D4FA-459F-AACE-25E89AF8A508}"/>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F162454-4FF0-0C68-06E6-5B96B723A219}"/>
              </a:ext>
            </a:extLst>
          </p:cNvPr>
          <p:cNvSpPr>
            <a:spLocks noGrp="1"/>
          </p:cNvSpPr>
          <p:nvPr>
            <p:ph type="sldNum" sz="quarter" idx="16"/>
          </p:nvPr>
        </p:nvSpPr>
        <p:spPr/>
        <p:txBody>
          <a:bodyPr/>
          <a:lstStyle/>
          <a:p>
            <a:fld id="{7B1F438D-4EAF-094E-9162-80CF3EF77236}" type="slidenum">
              <a:rPr lang="en-US" smtClean="0"/>
              <a:pPr/>
              <a:t>51</a:t>
            </a:fld>
            <a:endParaRPr lang="en-US"/>
          </a:p>
        </p:txBody>
      </p:sp>
      <p:sp>
        <p:nvSpPr>
          <p:cNvPr id="22" name="Rectangle 21">
            <a:extLst>
              <a:ext uri="{FF2B5EF4-FFF2-40B4-BE49-F238E27FC236}">
                <a16:creationId xmlns:a16="http://schemas.microsoft.com/office/drawing/2014/main" id="{4CA18FF3-9CDE-3935-CC1D-AE1D6A4DA84B}"/>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636B629-363B-2645-47C4-19B434006FD8}"/>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0982365-521A-935F-073E-657063E4FB87}"/>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A2693E06-D965-9B22-84B1-FDE7FF30EE79}"/>
              </a:ext>
            </a:extLst>
          </p:cNvPr>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322D2747-CC61-1351-7ED7-EE4172B51ABD}"/>
              </a:ext>
            </a:extLst>
          </p:cNvPr>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EE6EBEFA-2921-9154-C4E7-B6B72498DE48}"/>
              </a:ext>
            </a:extLst>
          </p:cNvPr>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18A9192D-BC51-0ED7-F6CF-D765F4A589AB}"/>
              </a:ext>
            </a:extLst>
          </p:cNvPr>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014666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2F332-6A46-CB31-38DB-37E7A99C001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D798F4E-2AD9-8192-4660-C3950C0416B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9070CFA-DE94-CFBE-C6B2-62A591FAD13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774AB33-7F1C-4C70-A7F2-EBC1858A02E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FD50531-663A-9820-BF76-1E3E0A9A87A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F27CD27-6536-DD4D-2D32-E99B3B16088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a:extLst>
              <a:ext uri="{FF2B5EF4-FFF2-40B4-BE49-F238E27FC236}">
                <a16:creationId xmlns:a16="http://schemas.microsoft.com/office/drawing/2014/main" id="{1F8309A3-677E-9BE2-04B6-EC26F2962D9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2C22AC5-B07F-F3AE-6569-03E900B81ED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C3A25CA-CF79-A93C-0A09-E7FCDA7C44F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F55EB6D-C24E-493E-E93A-794E458480F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B2A6DA5-A3C3-58FF-B451-0614982E2047}"/>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8739F177-F32C-F1AF-5260-557D29717F10}"/>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642164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D9946-099C-2851-F05C-FDFF47A6ABA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F582015-652B-031E-01FE-D2F375B133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4A9660C-762D-44D2-BD9B-EA4751511E6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BAC0C87-9A72-F1F9-6A15-5290E279A19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67362D70-38E8-D180-C63C-3994A53AD8D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66C00A6-1487-C211-71F7-0351C8B1A8A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423FE8F-3EF2-F15B-754A-4BCEB36C646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A15B218-C418-9A95-345E-29A67D3DDA4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C6D9DC7-98B0-CC23-7C90-7C6FF530C9D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592B1C5-5C13-C43B-CD3D-2DF383FD895C}"/>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2F01A0D0-4A1B-A8C8-9CFE-7ECF8BD0D668}"/>
              </a:ext>
            </a:extLst>
          </p:cNvPr>
          <p:cNvSpPr>
            <a:spLocks noGrp="1"/>
          </p:cNvSpPr>
          <p:nvPr>
            <p:ph type="sldNum" sz="quarter" idx="16"/>
          </p:nvPr>
        </p:nvSpPr>
        <p:spPr/>
        <p:txBody>
          <a:bodyPr/>
          <a:lstStyle/>
          <a:p>
            <a:fld id="{7B1F438D-4EAF-094E-9162-80CF3EF77236}" type="slidenum">
              <a:rPr lang="en-US" smtClean="0"/>
              <a:pPr/>
              <a:t>53</a:t>
            </a:fld>
            <a:endParaRPr lang="en-US"/>
          </a:p>
        </p:txBody>
      </p:sp>
      <p:sp>
        <p:nvSpPr>
          <p:cNvPr id="22" name="Rectangle 21">
            <a:extLst>
              <a:ext uri="{FF2B5EF4-FFF2-40B4-BE49-F238E27FC236}">
                <a16:creationId xmlns:a16="http://schemas.microsoft.com/office/drawing/2014/main" id="{27AB52CD-4F71-4ADF-3018-AD1872632191}"/>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E8F4AE2-10FC-FD16-6427-B560BACE7405}"/>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BC5BB3A-3DD5-F33B-6CC9-524FAF4D8A62}"/>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184C055A-AA32-B66A-40B7-57C4177633A7}"/>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60255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6E13F-1CD1-E1FF-9E65-55B643869E1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311B37F-788D-DD87-B828-F03324C109B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CB68D4-AE3E-1C7B-3708-7832910D843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99A0BF8-E1BC-C7A1-2B84-0FD1EE8980B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92CA012-726A-1620-C80B-9AD52D64067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D74E580-0CC9-47F9-CF7C-E804B3C2ED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a:extLst>
              <a:ext uri="{FF2B5EF4-FFF2-40B4-BE49-F238E27FC236}">
                <a16:creationId xmlns:a16="http://schemas.microsoft.com/office/drawing/2014/main" id="{9E5C40F3-5B3A-F8EB-9E00-3285346483C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7D24CF0-A6AB-49DB-E601-2634961A322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CABAEFF-0767-B9B5-9054-AEE1D5FE438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532FE78-E28E-A594-4541-C75DCB91114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67BEB11-2402-C34E-0386-A20A15324A7C}"/>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C2BA4D6A-1EF6-AC15-378C-3D231DF7A06F}"/>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9525376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A6178-C032-4D16-BAA7-8090A5A9085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DDCB77D-B29F-9F0E-5B74-51904B4D8F8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1482C7B-8522-5466-AEFB-487A39488F2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EE8FC966-A6C0-17B6-A944-D70683F10D44}"/>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2ECA2315-F565-0D29-E2D7-DA064A110FC0}"/>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A12EEEF-0C89-5350-76B9-22A979F897A6}"/>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86DE4C9-F6B4-1AFA-E61F-8A862C49719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5583740-BFA8-F8FD-4D62-7F01FB9FDB9A}"/>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93A8BCB2-B45D-8254-524E-34C5C9028920}"/>
              </a:ext>
            </a:extLst>
          </p:cNvPr>
          <p:cNvSpPr>
            <a:spLocks noGrp="1"/>
          </p:cNvSpPr>
          <p:nvPr>
            <p:ph type="sldNum" sz="quarter" idx="16"/>
          </p:nvPr>
        </p:nvSpPr>
        <p:spPr/>
        <p:txBody>
          <a:bodyPr/>
          <a:lstStyle/>
          <a:p>
            <a:fld id="{7B1F438D-4EAF-094E-9162-80CF3EF77236}" type="slidenum">
              <a:rPr lang="en-US" smtClean="0"/>
              <a:pPr/>
              <a:t>55</a:t>
            </a:fld>
            <a:endParaRPr lang="en-US"/>
          </a:p>
        </p:txBody>
      </p:sp>
      <p:sp>
        <p:nvSpPr>
          <p:cNvPr id="3" name="TextBox Y">
            <a:extLst>
              <a:ext uri="{FF2B5EF4-FFF2-40B4-BE49-F238E27FC236}">
                <a16:creationId xmlns:a16="http://schemas.microsoft.com/office/drawing/2014/main" id="{CC29FE62-0BF5-C977-04F8-487C238A919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77002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AF639-858B-D256-8275-DEACA379847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5EC2E62-AAA5-957B-5271-B5A01F6A1EF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AB9EF98-6CCC-8906-2E19-2D653102262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8E838B2-17BC-FE64-A06A-66AA95432B7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36D80878-1F16-8ACE-6B0B-2B3D853DE18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3B6A500-2B37-B2ED-6198-D9FFA6086F8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5FBCFCF-C81E-2C30-5A39-70C2A316DAD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7D72C08-60CC-6FC8-D5CF-3BA8CC6A9EB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2F204C5-A139-87FF-E86A-DFBD020BFBA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50B5385-786A-CF4C-7462-9C606359C447}"/>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C7C16A50-575F-ACF5-3D60-294692EA6E1B}"/>
              </a:ext>
            </a:extLst>
          </p:cNvPr>
          <p:cNvSpPr>
            <a:spLocks noGrp="1"/>
          </p:cNvSpPr>
          <p:nvPr>
            <p:ph type="sldNum" sz="quarter" idx="16"/>
          </p:nvPr>
        </p:nvSpPr>
        <p:spPr/>
        <p:txBody>
          <a:bodyPr/>
          <a:lstStyle/>
          <a:p>
            <a:fld id="{7B1F438D-4EAF-094E-9162-80CF3EF77236}" type="slidenum">
              <a:rPr lang="en-US" smtClean="0"/>
              <a:pPr/>
              <a:t>56</a:t>
            </a:fld>
            <a:endParaRPr lang="en-US"/>
          </a:p>
        </p:txBody>
      </p:sp>
      <p:sp>
        <p:nvSpPr>
          <p:cNvPr id="22" name="Rectangle 21">
            <a:extLst>
              <a:ext uri="{FF2B5EF4-FFF2-40B4-BE49-F238E27FC236}">
                <a16:creationId xmlns:a16="http://schemas.microsoft.com/office/drawing/2014/main" id="{9018E3B3-B1A5-2059-A9D2-1F7AA85973F2}"/>
              </a:ext>
            </a:extLst>
          </p:cNvPr>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C79CFDC-B62F-E8CA-901A-A664A6EE5182}"/>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a:extLst>
              <a:ext uri="{FF2B5EF4-FFF2-40B4-BE49-F238E27FC236}">
                <a16:creationId xmlns:a16="http://schemas.microsoft.com/office/drawing/2014/main" id="{0335F99E-6825-2E12-91FB-F0F1FD3CD2D8}"/>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123448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F92CD-07ED-E0EF-8C55-C94392C941B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AE40BFF-01EC-8FD3-724D-3434EF43315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433B463-A6E2-48B3-1C1A-DB9BF777DD3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E5E98FB-A077-52DF-58AB-10B460AFF4B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C85134D-E695-CE3C-D0C1-51D5DAEA6E5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BD878CB-B9A8-51C2-74C0-617A15627B1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a:extLst>
              <a:ext uri="{FF2B5EF4-FFF2-40B4-BE49-F238E27FC236}">
                <a16:creationId xmlns:a16="http://schemas.microsoft.com/office/drawing/2014/main" id="{13CCAE94-52A2-DB33-C15E-A3C79C0EB62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7131446-131C-D643-DEC4-2E35DB820AA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663839E-64A8-5CF8-5998-6B9FA71F969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BBC4032-BB12-7F95-800E-9907566CC0B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DB728F-091E-0470-89CC-0AD82EBD1FC1}"/>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1E26F5A0-FD2D-A421-2DD7-82BFC671FA59}"/>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7318284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04DA8-EABF-D034-584C-B1D5891A7EE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D6554D8-F522-85B6-FBFC-5994441A817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159521D-D27D-62C6-ABD7-DE04A2E9A0E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11DA1B71-89A3-7834-DD3A-DF84988868A0}"/>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00D22259-FC09-09CC-4327-5091249C280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4323E7B-80C8-054A-ED6E-50B402818000}"/>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B4E84F0-464E-2892-F3A6-BF7108BD1A82}"/>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C94A53AD-3960-6A70-08EF-67CC06CF9D0F}"/>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11B37FA6-3C31-3BE1-A614-FCF236124F3B}"/>
              </a:ext>
            </a:extLst>
          </p:cNvPr>
          <p:cNvSpPr>
            <a:spLocks noGrp="1"/>
          </p:cNvSpPr>
          <p:nvPr>
            <p:ph type="sldNum" sz="quarter" idx="16"/>
          </p:nvPr>
        </p:nvSpPr>
        <p:spPr/>
        <p:txBody>
          <a:bodyPr/>
          <a:lstStyle/>
          <a:p>
            <a:fld id="{7B1F438D-4EAF-094E-9162-80CF3EF77236}" type="slidenum">
              <a:rPr lang="en-US" smtClean="0"/>
              <a:pPr/>
              <a:t>58</a:t>
            </a:fld>
            <a:endParaRPr lang="en-US"/>
          </a:p>
        </p:txBody>
      </p:sp>
      <p:sp>
        <p:nvSpPr>
          <p:cNvPr id="3" name="TextBox Y">
            <a:extLst>
              <a:ext uri="{FF2B5EF4-FFF2-40B4-BE49-F238E27FC236}">
                <a16:creationId xmlns:a16="http://schemas.microsoft.com/office/drawing/2014/main" id="{8E7CD06E-2B59-324E-A240-F39233E1EE8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378313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B9DFA-B12E-0A4F-54D9-CF55AC1DF63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DB94B58-E221-3262-88F1-E569E5AC94F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9AD18A9-913C-0E69-86A5-45586B287C8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F5A4F0F7-5393-27B1-02D0-58104CFEBE9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01489F54-F462-CB4F-547A-31ED6FEAAF8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0CF20B7-C122-9CF4-24CC-BC5D2702AE7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9F803C5-0A1F-DB71-16B7-98E620F824E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E30BC07-28D3-981A-03C9-1BCA77F002A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BA85188-520A-0883-5902-FCD1DF6E370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9183097-ED42-4F88-12A9-076C78CB972B}"/>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F1BE6988-713E-4C2C-6038-1C0512616AB9}"/>
              </a:ext>
            </a:extLst>
          </p:cNvPr>
          <p:cNvSpPr>
            <a:spLocks noGrp="1"/>
          </p:cNvSpPr>
          <p:nvPr>
            <p:ph type="sldNum" sz="quarter" idx="16"/>
          </p:nvPr>
        </p:nvSpPr>
        <p:spPr/>
        <p:txBody>
          <a:bodyPr/>
          <a:lstStyle/>
          <a:p>
            <a:fld id="{7B1F438D-4EAF-094E-9162-80CF3EF77236}" type="slidenum">
              <a:rPr lang="en-US" smtClean="0"/>
              <a:pPr/>
              <a:t>59</a:t>
            </a:fld>
            <a:endParaRPr lang="en-US"/>
          </a:p>
        </p:txBody>
      </p:sp>
      <p:sp>
        <p:nvSpPr>
          <p:cNvPr id="22" name="Rectangle 21">
            <a:extLst>
              <a:ext uri="{FF2B5EF4-FFF2-40B4-BE49-F238E27FC236}">
                <a16:creationId xmlns:a16="http://schemas.microsoft.com/office/drawing/2014/main" id="{F42CE605-0E8E-02D5-A007-6BAA8D0D3610}"/>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AC42C39-16CB-06BF-CA05-086F53FC3C3A}"/>
              </a:ext>
            </a:extLst>
          </p:cNvPr>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4D84B5B-8925-F727-34DF-9CB978F005DF}"/>
              </a:ext>
            </a:extLst>
          </p:cNvPr>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3E7D700-4099-D038-4EA8-3F6E703FFAAF}"/>
              </a:ext>
            </a:extLst>
          </p:cNvPr>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71058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6BF28-CA52-AA86-C11F-65F22511B60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1B601E0-799A-C5FA-CB01-03DBE62662E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B123E52-C307-7620-8373-E070AD1FB14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1712512-30E9-7A48-A09C-2FB0279B6B3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38795F7-6C2C-CFE5-51B7-087B373760B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D90CCAA8-D9C8-199E-8452-185F5B1BE19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a:extLst>
              <a:ext uri="{FF2B5EF4-FFF2-40B4-BE49-F238E27FC236}">
                <a16:creationId xmlns:a16="http://schemas.microsoft.com/office/drawing/2014/main" id="{85BB66E8-3DB3-F96C-6EB0-AB311ABE561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A24C4B6-FEE0-A433-65D3-26ABEF52923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A936817-5971-8C39-68FE-92C226A68CFF}"/>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87CC1E1-9022-7524-0EBB-01EE91CE71B1}"/>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3996AF82-BC24-C180-4E0C-3F3E7ED0A7A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1521665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67C48-61A2-B5F3-ACAF-6A56876F0EA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7637DE7-F72D-22F6-76CA-4C9B7434197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0AEBACF-AFDC-44E5-80BC-8B6838C6E2A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0BA4BA7-A56A-9D81-04AC-C3BDC82EB3D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FF943F3-DAFF-26A5-B4F9-DA92AC52141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752DF60-7441-7F8D-386B-B53DBB909DF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a:extLst>
              <a:ext uri="{FF2B5EF4-FFF2-40B4-BE49-F238E27FC236}">
                <a16:creationId xmlns:a16="http://schemas.microsoft.com/office/drawing/2014/main" id="{7166F12A-BF8E-C4A8-12CC-519E421E730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7EB13E-B247-B439-F9AE-3A5F79D0CCE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63B1535-CDC8-2C88-807A-7DE454D1F11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B1614E2-CE99-5228-04E8-072D4F05D72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FDA1323-6F5C-5FC1-9C37-9FD8F61CF880}"/>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D70A3B44-8DD5-5DE4-C1B5-E38653ECEEAA}"/>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1763678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CF4C3-C7B4-F4C7-E243-455407D529B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05E894E-E6E5-7F15-4478-CFD950A4836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5692CFB-8DA6-DC6C-1D2E-1582BF48D99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BFFE030-71CE-9221-9238-180D849AC33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D07DF151-360F-D410-2122-E7593D0A00F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DE5CAFC-9A58-C3B8-5C47-F438FF49F28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52333B1-3420-E450-5949-6574210A32B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53B3026-01EF-7F01-FBA7-0E1256326ED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2DBA67F-E927-0999-480E-6D50F9C415E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A7ED15B-9719-7866-61FC-706C51DAA35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A77FAB68-0AF4-C764-23BE-A8A65F6911BA}"/>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22" name="Rectangle 21">
            <a:extLst>
              <a:ext uri="{FF2B5EF4-FFF2-40B4-BE49-F238E27FC236}">
                <a16:creationId xmlns:a16="http://schemas.microsoft.com/office/drawing/2014/main" id="{B4991A8F-39C7-F6F0-B0CB-A1901C75C5C5}"/>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487604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E6256-A097-A14F-7689-7EBC11ECBB5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A571C61-EFF2-F305-CE9E-3575908DE18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D3184C8-FBFB-7BE6-5126-965E2626F6D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E52B4C1-62B7-8965-651F-A95F195F1F9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E32B117-1BC6-4B37-4541-2C0474BDE78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006A782C-88D8-175E-900E-2C9BC0EEB33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a:extLst>
              <a:ext uri="{FF2B5EF4-FFF2-40B4-BE49-F238E27FC236}">
                <a16:creationId xmlns:a16="http://schemas.microsoft.com/office/drawing/2014/main" id="{B718AF27-6715-C208-0E4B-1551ECBC96A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8AE970E-86FA-8C01-A1D6-7B5FC85321E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051175B-9EE2-AD00-91C2-E0FF8976880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CAEF52A-3DD3-631C-413D-8A95EAC2753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FD4BF89-2521-43E2-3F38-02A7AD4BEE9B}"/>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1A6496B2-01B1-94FB-AFFA-6981C1C2DCF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5385892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FF158-FB87-8A92-A9AB-6BB6AC482D7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8B8CDFF-9811-8234-282F-A0330EB6024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8D4DC94-6F34-8C1B-5968-E88A1C4FA58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0AFA09F-3A49-F672-67D0-68F595FE6BF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42D6347C-CF2B-D74C-FBC7-7346FFF63EA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7ED25CA-3499-99D5-2933-2E5DAC09AF3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D702AC6-6FD4-48D4-F4FD-A5CEA7669E6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E553435-45E3-8D46-476F-B33B4B51419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D34DD17-2011-BF0E-C479-B4C58935AED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AAD8442-F488-3F3C-D5AD-11901359836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3CEC2B08-914F-D367-7E63-4991DAEB1F58}"/>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22" name="Rectangle 21">
            <a:extLst>
              <a:ext uri="{FF2B5EF4-FFF2-40B4-BE49-F238E27FC236}">
                <a16:creationId xmlns:a16="http://schemas.microsoft.com/office/drawing/2014/main" id="{EE25DDBE-57B0-1850-D58F-DA29FF4163FD}"/>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35FA8EF0-0ADD-9E04-DE92-94887B2A61E2}"/>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7CDCC25-A55C-736C-4F9F-85C75CC47519}"/>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4B452F9A-2E02-8BCB-0B01-84DB51805F52}"/>
              </a:ext>
            </a:extLst>
          </p:cNvPr>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EF0FE0F4-AAD5-34FB-C358-BA17D8D7E102}"/>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396770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6DBAC-8F8B-E9FF-FE7E-6EF7D491950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592868B-C826-B66C-0EB5-511E025362A8}"/>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940D1D8-6A65-F8F8-C681-84DBD489754C}"/>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327F297-3CD9-9526-14CC-0FDC276B94D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454A5C8-62D4-F4BA-67C6-6B5D6FBFE69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BED3E40-5C4C-7B1E-69B0-CD644DA760A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a:extLst>
              <a:ext uri="{FF2B5EF4-FFF2-40B4-BE49-F238E27FC236}">
                <a16:creationId xmlns:a16="http://schemas.microsoft.com/office/drawing/2014/main" id="{36D6D228-8CCE-F2CE-0B10-126F592AB07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FA58221-7F48-A336-56CA-E5C6EB6104D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5D5C22C-7880-8239-9A99-C00F18D9CF0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21C0EA1-047D-62F5-883A-3E891D44B38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205630D-4C85-92DC-A213-5B4ACBACE675}"/>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34BE36FB-F83E-6897-4284-4EB47350152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4172185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71485-B9C4-60DF-7649-24FC5ECC7BF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F081ADF-B73B-BB9E-5CF8-2402339BBC0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216AFC3-453A-6E3F-2645-5FC6D5D5C8C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9C2DBE14-2C68-5FE4-0CCE-F5D0AC7794F1}"/>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C165A8EB-14AB-4F91-739F-21E83AE5099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567AA9C-CABD-B6E2-9BC0-CEC575012363}"/>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B0E9606-BA92-960D-DADB-B5938F8ABE1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680CE6B-1ACE-B00C-1F0A-C59ECCD8DC95}"/>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DCA4374C-F55B-CBDE-5F16-CA2CD1DFE70D}"/>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2B9B7B7D-B242-BC24-1733-AAF99D12C0AA}"/>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373173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D78F2-ED14-8EA9-CC94-8DEC966C29F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CFBB95C-1213-74F7-6779-18E401B5BB2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2766B09-ED80-D038-29D8-91F5BD17CE1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3DA2A7B-3F09-1A4F-33AC-7B1C7834E9F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6121BD12-BAA7-DE21-6F3A-BDCB4BDEDF5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84C49DC-F4A5-A49A-3DCA-89C0E0FC6D6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F140921-D049-4E4D-B51F-439243B9361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EA9F3D1-2E9D-CBE0-1C4A-9BDEC9355C9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7F90F55-D722-4732-1D52-0FF634F459A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18CD6F9-B5F1-8B62-B316-95F1FBD2285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FADB11A-BA18-353E-9E71-0DFCE87ADBAE}"/>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22" name="Rectangle 21">
            <a:extLst>
              <a:ext uri="{FF2B5EF4-FFF2-40B4-BE49-F238E27FC236}">
                <a16:creationId xmlns:a16="http://schemas.microsoft.com/office/drawing/2014/main" id="{75D62C70-56ED-78A2-469F-FD6105F4153B}"/>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F5CE9F36-194B-EEC0-A4BE-2F4E92B2DCCA}"/>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C1BC2D34-AB36-43AF-4EDD-E4686947E95D}"/>
              </a:ext>
            </a:extLst>
          </p:cNvPr>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383FDE9-93C1-06EF-AE3B-B3479A84D5CC}"/>
              </a:ext>
            </a:extLst>
          </p:cNvPr>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B6814AB2-C322-C512-1131-EC14017C0F93}"/>
              </a:ext>
            </a:extLst>
          </p:cNvPr>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33F33CB6-0167-CAC7-0BAF-5011CF65F51E}"/>
              </a:ext>
            </a:extLst>
          </p:cNvPr>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978029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12738-8CF2-C0B3-222F-46E318901BC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103F15E-AC37-349F-A2EC-C2B2ABFE876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AFFA2B6-3F8B-6B24-E651-8C281582169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AD81622-14AA-1051-E693-EF841A7429B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F193F8D-F31F-03A4-8544-8B2DED62DA4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C60A743-A5DB-99BE-5708-CF79C162659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a:extLst>
              <a:ext uri="{FF2B5EF4-FFF2-40B4-BE49-F238E27FC236}">
                <a16:creationId xmlns:a16="http://schemas.microsoft.com/office/drawing/2014/main" id="{3C654C02-470E-BD6A-C39E-2DF7836C201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1E26F53-E5C0-0F2F-9501-DA15C0B097C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AC43E01-572A-90AD-7800-04295437404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843CF25-961B-B009-C2F5-48605612A12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854CE06-C83B-AEF6-8CFF-4EE1DFCFD033}"/>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BE503327-836E-55A5-F9B0-064F43B206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9518709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5EE0D-A1A3-9B48-1FD7-0622D5EE45C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970FC3B-AE3C-7B4E-A551-EB1F39AA9CF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5DC933A-7DDD-0AF2-33E8-90F220AB316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113B90C3-454B-D828-4DD2-6BF770898EC3}"/>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94E88D32-2907-DAF6-659B-ACADB97404F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4493D94-69A8-61AF-400C-5C5DE3ED0EB2}"/>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E1D86CC-6CE4-162E-7C03-795A6DEBFE6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2CFF4D6-15BA-8301-3C15-A1D041766668}"/>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AFB94FF8-6D98-7633-4D58-B81A51C51E11}"/>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D606E3DB-4007-EAD3-3B4B-C583D546768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667672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F7C37-C5B2-D26B-BBB6-A0382078406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92D6AFD-CECB-7674-C757-4AFD32664AF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4B37FF6-A069-9D99-B25D-7F6AAC91B6C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CDA20F1-F794-E0DD-85E5-76C14CBB4DC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9C01017B-30B6-45A0-4151-41E3A7DF751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AF0BECC-B639-6223-7DA3-A6D28B9859E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D3CF773-BE19-D29E-B1EB-B13734EEE97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036B7A9-1B6F-5046-0D10-C3B1EC9F633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2984EAC-4BF3-615F-07BC-5354479E231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A9AC3C8-0D24-198F-64B9-784F7E8856AD}"/>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777BBF19-3F02-AFD9-A204-F9F4533C65C4}"/>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22" name="Rectangle 21">
            <a:extLst>
              <a:ext uri="{FF2B5EF4-FFF2-40B4-BE49-F238E27FC236}">
                <a16:creationId xmlns:a16="http://schemas.microsoft.com/office/drawing/2014/main" id="{C5D57F24-CFE2-9A2D-D229-0006BAEBE7F3}"/>
              </a:ext>
            </a:extLst>
          </p:cNvPr>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C1953AF-7314-38AF-9CE2-0786F6FB8DDA}"/>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1E0B9F2-C0A9-C5BC-22D0-62B7F09E9FB0}"/>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EC6E4529-107F-7F98-DC81-9A78AC7CDA43}"/>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2237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49707-A778-68AF-40FC-EC35C3FAA14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26BBB6A-6A95-A514-233F-2836E7FBDB6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AAC85CE-8704-A477-936D-BA9480CB3D4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0E214D8-19C2-EC00-7A4D-F6A8FE31953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682BBDD-D8FD-4B15-5C79-907D1849CE9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AAEEC1C-0E7D-B32C-32F3-BF1930F0C43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a:extLst>
              <a:ext uri="{FF2B5EF4-FFF2-40B4-BE49-F238E27FC236}">
                <a16:creationId xmlns:a16="http://schemas.microsoft.com/office/drawing/2014/main" id="{F0E079A0-B19B-5E81-DF1A-E2AD766E0C8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2EF2EE0-F276-6A89-EFC1-483E0DA726C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503CDAF-493D-F28C-3070-88F8E1C48E57}"/>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EBD0CABB-3EFE-9521-AF5F-7BEAB93CDFA1}"/>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CC0CBC83-8C30-AA6C-442B-EC0E9BCBB8E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2745411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8C543-211B-8535-EEB1-3F3979B0B8B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24955D4-66E2-EB5C-CCB1-A0EB7CE63F5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E7725DB-5F29-A59E-9AAE-6CFC176BFC6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C25B4DC-9484-9E30-3D7A-0E15ED6CAA4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78236F2-8E8D-5494-16CF-36E41AE6E9C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35C8690-1A5E-754D-4352-0B439BCD781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a:extLst>
              <a:ext uri="{FF2B5EF4-FFF2-40B4-BE49-F238E27FC236}">
                <a16:creationId xmlns:a16="http://schemas.microsoft.com/office/drawing/2014/main" id="{93BF4701-A405-CA59-D86B-903FD4BB273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2846E6B-CC64-DA46-0CA9-E5D3BC89092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6B4E113-CC4B-2EF5-8CE9-164E6E325D9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A434528-F2B7-1B97-F039-678A072653A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D7BB8C5-34EF-3295-8EF7-430CFA8C1881}"/>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08F6B468-6A1D-5598-48E8-AD3A18F85507}"/>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19576234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F0B6C-2251-6845-FC31-8564AEE3126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9986C8D-FFA0-DA06-914D-EC644151A55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96A1D22-A1D4-8517-12D0-95A5DD6109F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69F07301-EBB2-4BEB-C3E2-BDE474F04154}"/>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EA9BAA88-F2E0-2A09-E71B-04990B4EB4C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13A12511-6C5D-F31A-15B7-F5B40B80D207}"/>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7492AE4-3452-6158-9C8E-2F46FAF400C2}"/>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B456FD4-2A7C-8A54-A7A5-84E7E4DBB177}"/>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FD4113B7-AD1C-EDCC-2834-1E2A525ED00B}"/>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8390F1BA-552C-888C-96C7-B724FBF02C0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49641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7CFC6-AAA2-4864-47FB-4E532458648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96B37FB-EF36-B87D-0EFF-8833E383B63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C91FADD-38C8-270E-ED64-E851A899760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A2D15A0A-440D-41D0-EB48-E6A394901F1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2B4737D0-74B9-8967-A900-616BFB03875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8FC4CE9-6B1D-825F-EDC0-22F1DB3B23A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7D068EB-004D-2049-F28E-A7AC0910ED7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1D59553-9CF9-65C4-87BA-466DCE59840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7652301-1BE1-05C8-50B3-3362C0EC8F6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2038794-22EF-6693-1F25-1D4B95E3720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0145EA23-B678-54ED-9AA9-D6E044F38FAF}"/>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22" name="Rectangle 21">
            <a:extLst>
              <a:ext uri="{FF2B5EF4-FFF2-40B4-BE49-F238E27FC236}">
                <a16:creationId xmlns:a16="http://schemas.microsoft.com/office/drawing/2014/main" id="{62F80CD5-A9AA-364B-4864-CC36E524D4B8}"/>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A5B0862-A1B2-F6EF-7513-E8BC67836881}"/>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5E558DF8-DA9C-B6A7-E4B2-3BE8605995C3}"/>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37E7CCC1-CFC9-2E0E-422B-3D7A184D5067}"/>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6EA15B3A-FCEA-C778-F066-B6C5EB86DB25}"/>
              </a:ext>
            </a:extLst>
          </p:cNvPr>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7F6D0F02-AE98-E855-5785-085959029645}"/>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B13DC5F5-4FE7-EEB1-C0D7-358DB310A060}"/>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077863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247B6-6252-9CBB-246F-819ED27DED1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D3E5EC2-F7CF-9A7F-2751-216C618D3693}"/>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B3DB4DC-DD96-7244-8C44-F7219CB4761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BC00F5C-CC32-B313-A69E-7459E1632FB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409ABF0-2C22-E0C5-F99A-D5AC2D2328F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F9B8FD4-83C4-486C-2136-8404C0EDC34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a:extLst>
              <a:ext uri="{FF2B5EF4-FFF2-40B4-BE49-F238E27FC236}">
                <a16:creationId xmlns:a16="http://schemas.microsoft.com/office/drawing/2014/main" id="{699FB823-2560-B1E1-8C13-D07662D940D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0DCAD9-31E9-3E16-6049-51908172236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9FC4042-7947-F054-D791-DFF7A8298BC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6D441CA-DB4C-7B69-6DD8-56362C15877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A8CA1A6-1FC6-D21E-6A21-07F246FED2BC}"/>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F160509E-2B24-671D-53E5-8E6B70D7D940}"/>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0992521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180CD-81B3-1296-DDDF-B61CD698C4D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5C507BA-17C2-DAF3-1A8B-BD92D47B0F6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86FA5D2-C467-FE9C-B543-3649CE05EEC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F5B7300-7449-5F3E-AAE2-8A4B72305BC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C3B5575F-2A90-1D37-CE68-1CEFE9EBF2B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E0B71DF-9DD5-3A10-882D-070E1D1D579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369EEF5-FFFD-D444-F5D8-E8141381152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AA45776-2553-210A-05F3-6AF31DB86E3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4BF36C6-E346-8252-B995-7C530F00A82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A704784-4F8E-2EAC-14D9-A88736C956D9}"/>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7365C11D-65B5-EACA-B9CF-91F593D29860}"/>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22" name="Rectangle 21">
            <a:extLst>
              <a:ext uri="{FF2B5EF4-FFF2-40B4-BE49-F238E27FC236}">
                <a16:creationId xmlns:a16="http://schemas.microsoft.com/office/drawing/2014/main" id="{5B3137CA-E5A7-396F-3A3A-C731D75F809A}"/>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6EA1398D-9026-BE69-71FC-2BE0F4D27C11}"/>
              </a:ext>
            </a:extLst>
          </p:cNvPr>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4A4FD576-412C-3C92-23DB-012702E2D32B}"/>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3433B649-BEBC-DC7C-66C6-4124BAAF9196}"/>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577872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CC3E0-89C9-7F60-9D17-564F152F10F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7802610-8563-1C53-CC23-7C72E8A6957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A21614E-0160-5A30-5A23-56AFB9B61EC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1207D42-35F0-A458-00C8-A0A0EAA4839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CC78073-ED12-58FB-7FD5-AA15A449BB9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057CC33-784F-76C9-4C9B-9735697C731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a:extLst>
              <a:ext uri="{FF2B5EF4-FFF2-40B4-BE49-F238E27FC236}">
                <a16:creationId xmlns:a16="http://schemas.microsoft.com/office/drawing/2014/main" id="{A87330F9-7083-4814-7C2C-FA1C84D86EE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84B0568-B1D4-4468-ADCA-44D217FE6AE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23092AF-9DD8-53F3-C510-EDD0781582D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BB1D946-B59A-AF48-EDC7-9E12B5F4920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6B817A8-D71D-FF66-261B-26F1BA76A717}"/>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D6DA6582-AAC1-89F8-A7A4-F59188D4D9FB}"/>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4359229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4060C-7648-5BAC-A3A0-A7B3507DDA2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A04D25E-5E78-C56B-B48B-FA5D8A348B9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550E64B-7041-DF45-ACDC-C7616AD0871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EDAFD36-BBA1-4D55-AB43-6F1E6B4E72D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5451D3C8-E85A-A402-6CFA-4FA816A02B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4CBA6B8-6FBB-5DD9-1D9A-7A85250E298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1C631BA-3FB7-DCA9-D62B-BCFA1220987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0E04714-CFFC-DD98-0F02-F45A443EAC9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44D3707-4768-42FE-9E31-520E9316955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7A44DA3-E5A7-67E2-A9EA-4425725D2786}"/>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45EC4038-3BB5-3DCF-6CF9-30912AF6D851}"/>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22" name="Rectangle 21">
            <a:extLst>
              <a:ext uri="{FF2B5EF4-FFF2-40B4-BE49-F238E27FC236}">
                <a16:creationId xmlns:a16="http://schemas.microsoft.com/office/drawing/2014/main" id="{09CA9B5C-B8D8-8A18-2E12-1762236B0127}"/>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A027B3A-FDF1-D030-90EE-659980D4D73B}"/>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4ED3074B-1DFE-C010-2400-C77E1B58ECC0}"/>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7D7B5DD3-74A2-1EA8-274D-15CFAF6DAF93}"/>
              </a:ext>
            </a:extLst>
          </p:cNvPr>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68ED0146-8A6F-C5F0-D65B-ED89D923148E}"/>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081017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21CCB-6FC3-4EF2-6BF7-0747E0DB9C6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EEE4FF2-A003-65A3-3725-1B2268CF99D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10D89A8-695D-48C4-52E1-57E0591ECB8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C6459AC-F840-288F-B4E4-21BF11136F6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654D8E7-6C05-EE18-870E-E8BAB2A7A42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78910A2-520F-E8A0-5DEB-78EC30613C7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a:extLst>
              <a:ext uri="{FF2B5EF4-FFF2-40B4-BE49-F238E27FC236}">
                <a16:creationId xmlns:a16="http://schemas.microsoft.com/office/drawing/2014/main" id="{BF669A7D-2F18-9CF2-2A1B-10E5813FE15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BC7AD4F-F06D-3FFA-D55D-07D53E719F2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490E191-1284-6491-F67D-ED223444632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98E22B1-C06F-4C1E-F430-DFC24E682A0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4F03A54-43A3-E36B-F0AE-90584BD2F74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B1B7E521-9879-F4B7-533F-CA9C4DC838B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24213191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051DA-0D14-CB7D-91DA-C250996CB9B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90ECD60-41A1-5DEC-22E6-0EA13D046A1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C66B26F-489E-B904-B09E-EF54C4D19C4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17244368-C60C-3CD3-8037-290D6A9E645C}"/>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E0060F10-3919-43C0-B2DB-CA9D2F3DDF0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FF1E758-0E6D-28F4-859C-0A1DA5ACCE97}"/>
              </a:ext>
            </a:extLst>
          </p:cNvPr>
          <p:cNvGraphicFramePr>
            <a:graphicFrameLocks/>
          </p:cNvGraphicFramePr>
          <p:nvPr/>
        </p:nvGraphicFramePr>
        <p:xfrm>
          <a:off x="4579258" y="1141495"/>
          <a:ext cx="4057904" cy="1178521"/>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F4AA4F7-C59A-BD3F-AE50-330EF430003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E2BD8AA-0172-5BF2-ACE5-5FDF5124208D}"/>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10AF0ABD-F2E6-5544-DEED-19CEB04DDCBF}"/>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BFEAAD7B-138C-C723-C635-01C38F5D62A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201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1BFD6-5434-120F-AABF-E62B1D3F99A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4627F75-6C26-02E1-5E88-89DAF23CC14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8D69018-0C86-7C4A-EA32-82EDA2DE8F0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2FA1E57-C547-1292-8AD9-9A2DE2E8CFF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B15F16D7-348E-BB5B-0D0A-FB90D7D8A8B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B5F0AF9-05F0-699D-4A75-6FEDD690EE3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17E029A-964D-D34C-AACE-36999E686FE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6863D6E-A68B-500D-83FC-8D564DD052E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5451A18-B242-F110-1E87-977F6CC32BE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3821939-4832-6D95-A346-69DBBE7F31BE}"/>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A056D54F-D309-4399-2729-4E31F82FF093}"/>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22" name="Rectangle 21">
            <a:extLst>
              <a:ext uri="{FF2B5EF4-FFF2-40B4-BE49-F238E27FC236}">
                <a16:creationId xmlns:a16="http://schemas.microsoft.com/office/drawing/2014/main" id="{79370FAE-F30D-F451-DC8D-6032B1735741}"/>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7143822-C81C-51C4-3C11-E377F6F3E24B}"/>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E271BB25-62AD-2585-8A68-C0902311D734}"/>
              </a:ext>
            </a:extLst>
          </p:cNvPr>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F313CCF0-E40E-58E0-B4C6-1C89C05055AB}"/>
              </a:ext>
            </a:extLst>
          </p:cNvPr>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78CE3078-4FD6-AF68-2CF7-865A3E2D1879}"/>
              </a:ext>
            </a:extLst>
          </p:cNvPr>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240643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76143-2988-0D61-33CC-ED5797CA058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0E793B1-AC5F-BC98-275E-DF1B6B63A297}"/>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A3CFD4F-A763-51F8-9550-6677C6F87E6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6A5A452-5404-E911-EA46-3A74787A0BC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B2EEC7B-9055-B6DF-E37C-012E1F7F0AB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AA4B7A9-C97C-19B4-50A4-A9D070F1E86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a:extLst>
              <a:ext uri="{FF2B5EF4-FFF2-40B4-BE49-F238E27FC236}">
                <a16:creationId xmlns:a16="http://schemas.microsoft.com/office/drawing/2014/main" id="{AF3FA3D5-FAA1-E254-E97A-5A331C05B8F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2CA668A-043B-54CA-4955-83418FDAFEB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43C40A7-5AB0-A16B-01C4-EB9B56F0F2F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1B647E54-722A-0BE4-4332-62AC5130F8D0}"/>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8572913-E3F0-2455-E0A8-F77827D41B9B}"/>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9175823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AF6074-9627-FB7B-C796-95009B863F2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69D5EAD-BDE9-7811-9A84-3029AA31282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64BE6F0-096A-BEC9-BF1C-B7783821F32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87D0B37-8421-88A1-ED14-37D61168D1A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15816B3-09BD-7977-0391-92DD738C947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7142FF8-0813-7047-F767-B50B3D524E5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a:extLst>
              <a:ext uri="{FF2B5EF4-FFF2-40B4-BE49-F238E27FC236}">
                <a16:creationId xmlns:a16="http://schemas.microsoft.com/office/drawing/2014/main" id="{C4B15001-0C1D-CE86-2EA1-83F760423FD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142CD11-03FE-8E86-8B28-88A61E647E9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3013E22-EFAF-CA48-67FA-3D67AB6E19C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4BC1644-64BB-18AE-EDAB-086BB2A5D42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6D0451C-1454-DF88-F333-9F82DF697F2B}"/>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5F9009-13D7-B77F-E310-324113ACD139}"/>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92589870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21754-B0E7-BF70-1DC1-3056DCD8F61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2F642EA-FD8A-133F-DF5D-210F501FEA7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74985D-27DB-D810-F028-97658492EA1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232FFE5-F72E-AFB8-C513-16C9D838D44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C8240551-6206-D1E9-9449-BD96AB8809E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D56CCB1-E6B2-73E2-BA12-EFB21C85B57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6A617ED-B1EF-054B-92A1-65CA4E88F77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5830418-D06C-205C-D48B-574AED97D3C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D542781-3831-E5E5-8ABD-D3C0E72EADA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8FFF6CE-5D85-59DF-4D04-E654B7A3F68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317FB2AC-B64E-EE05-7941-39A06DC2ADC3}"/>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22" name="Rectangle 21">
            <a:extLst>
              <a:ext uri="{FF2B5EF4-FFF2-40B4-BE49-F238E27FC236}">
                <a16:creationId xmlns:a16="http://schemas.microsoft.com/office/drawing/2014/main" id="{BE1BC005-EFC9-A68D-C7AA-A61825595715}"/>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44E2166-6D52-0689-F800-359C1EE0F96B}"/>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C6A01999-0A83-A46B-78CB-B7147CC3AF5C}"/>
              </a:ext>
            </a:extLst>
          </p:cNvPr>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117D5E16-4123-70FA-E200-4BCF3F7C4935}"/>
              </a:ext>
            </a:extLst>
          </p:cNvPr>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70B55366-8558-9190-94CA-B3C136E4C363}"/>
              </a:ext>
            </a:extLst>
          </p:cNvPr>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208A55BD-AA36-40B7-FC0F-0C2FFFC531A8}"/>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953118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80F32-F967-7BC6-9B09-46376FD84B4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5BD4E0E-EF33-AB12-748E-DD94A0A6064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1FE24C1-2FF7-1EC7-9D42-C7B830520D0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87F9B27-442A-4EAD-157E-0C500BA57A0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CA7F8B4-D879-16CE-9B6D-EBBD72B1370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DB582C1-2CBA-B1F7-FC76-252FEE48FAE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a:extLst>
              <a:ext uri="{FF2B5EF4-FFF2-40B4-BE49-F238E27FC236}">
                <a16:creationId xmlns:a16="http://schemas.microsoft.com/office/drawing/2014/main" id="{F63325A6-A94F-13FD-9D00-E11062B528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2B1689D-04E9-B998-46BF-FA5E77F5571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300233A-E229-5115-BEC3-43FD80E5B03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37445D7-4A94-E773-E1CE-034E84D6F96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7AF35E9-010F-FE53-38E2-2FBDC81E278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7D7D5D25-B790-94E2-390B-D5F6FE9461F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7920007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B9BF7-3D83-8DD8-953B-2904AC931E9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9505570-4809-C0E4-13AE-8C080A14F59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CCE2E2B-BA36-1AFF-4C31-CEDA123C279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2E0245F-4072-522C-AF42-E7B354FA664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15C862B9-3CDB-EAE7-A0E4-34791EA041B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71C187C-9ECB-457C-B09D-D26E2CA4556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3198A56-0B68-5CFC-6768-CF1CBCF8BE3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5BE76A1-2056-4A49-D4F1-CD274A31436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ADA023D-A49C-85CD-AC58-4723E26EEAF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793EC8F-5430-B1C4-A85D-00D8DF1C4CB2}"/>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300C6A73-5B88-9D6C-F600-318CEBDB8F5B}"/>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a:extLst>
              <a:ext uri="{FF2B5EF4-FFF2-40B4-BE49-F238E27FC236}">
                <a16:creationId xmlns:a16="http://schemas.microsoft.com/office/drawing/2014/main" id="{C8D23352-EA84-6B39-66EB-A966785C9DD7}"/>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29C7ED1-FC5F-A8E5-2D0D-E78F2AD9210D}"/>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DA855837-18BB-6C0C-6CFB-29FCA9884F5A}"/>
              </a:ext>
            </a:extLst>
          </p:cNvPr>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B26F052A-2F86-093B-490A-74BB10BA1A5A}"/>
              </a:ext>
            </a:extLst>
          </p:cNvPr>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740140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EB907F-1893-1C69-A3FA-4902AA52999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338CD42-A594-3EB9-B517-34670D92E35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1886B7B-6B37-F17C-1C6E-4AD06D936DD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991FAD5-0DD2-B7CA-45EF-977941D09F6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FF53CC2-A73A-B32D-5172-6A98C99DFB1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449DAA7-ED8E-2F42-4BAA-E26E4A6ED5A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a:extLst>
              <a:ext uri="{FF2B5EF4-FFF2-40B4-BE49-F238E27FC236}">
                <a16:creationId xmlns:a16="http://schemas.microsoft.com/office/drawing/2014/main" id="{D9D68603-44B2-6E20-391D-F8C85D45D0C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F92C3A9-2CB9-4273-6AFE-1F2896C55D8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ED0D061-6302-02BA-4615-A7757E2F71D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6DCBC24-10BF-07FD-400F-63F955F0B20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9223F45-2F26-76A7-6274-7DF7B5177FCA}"/>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CC04A05F-F389-61E5-A4BD-2F494DE475AC}"/>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17015026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5BA32-FB23-0B3D-8D40-930B7D2B2E2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28A69FE-7252-C7FE-E768-50FAE14A720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EBD834D-1D52-3FF2-62C4-96A52F1CD44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EB25CF0-8A4E-D496-F96B-3731977BBDB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75444F70-09F9-B8C7-6188-43E6DA87819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D2B65E1-6435-2F9B-99A4-3B9F4EC7AE4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5697DA2-20A6-B052-3E51-003C76F2C3B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FCD7E54-38FB-43B1-CC6D-E2CD0A6DFFC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AD592CF-1E58-AF88-1DE4-2CB156DEC7B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6048918-FD47-7BFA-DCEB-9858E3B17618}"/>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F2AD427E-840F-0CEA-388E-4691E4F3E5CE}"/>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a:extLst>
              <a:ext uri="{FF2B5EF4-FFF2-40B4-BE49-F238E27FC236}">
                <a16:creationId xmlns:a16="http://schemas.microsoft.com/office/drawing/2014/main" id="{05F7D4A5-20A8-4F76-9CF9-EF4785D264B9}"/>
              </a:ext>
            </a:extLst>
          </p:cNvPr>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7BC4CB8-0902-137C-90B4-1B4F4C4244F1}"/>
              </a:ext>
            </a:extLst>
          </p:cNvPr>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B1D5B343-1E74-5A54-9688-1AE4FB0DBD58}"/>
              </a:ext>
            </a:extLst>
          </p:cNvPr>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DB90C8C4-D74F-EB06-9347-27EFCF3F1EDB}"/>
              </a:ext>
            </a:extLst>
          </p:cNvPr>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8056063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DE6AF-2F7E-2E26-BBE6-572C9DCFF4B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58D6A55-0FA1-5568-3BB4-4149F74D014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80C8C51-8A73-61E8-2FA9-D1A92237B730}"/>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9DB264C-0BB1-1F55-4CA1-78070EA165B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63FA4DB-805F-6FDD-FD97-92CA40E1A6E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573A15A-0C82-5B5D-A07C-4D8E0C11ABB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a:extLst>
              <a:ext uri="{FF2B5EF4-FFF2-40B4-BE49-F238E27FC236}">
                <a16:creationId xmlns:a16="http://schemas.microsoft.com/office/drawing/2014/main" id="{746F2B68-5DA3-193E-32E0-6C6840A334B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B17FB28-8A87-7943-714B-BAE55FBFE84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8B8A6A5-C848-5B6E-EDCD-32680626BB8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9468030-9FC3-0214-7B7C-951573292E8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95EBBE1-F5D9-F3A6-6D6F-7869595DCD27}"/>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BBB53647-D4FF-945E-E65F-CAF5F161D076}"/>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3355533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72A89-303B-1A07-EEAB-A999CC3FCDE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F7C7ADB-451D-F7AF-DC59-523E27BFC0D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1B43C0D4-961A-6D52-1E72-9B3D9C4A98F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F5478AE6-1074-7B45-92CE-D9F20697A84D}"/>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2C382DD-D4A7-ACA5-CEED-B4856FA80CC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50690B0-2712-87B2-C027-36106EC6D96C}"/>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113AEF9-FD9F-1BA2-508E-34468DFC6B2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54245C7-4F18-D5FE-631D-36A41ED6EADE}"/>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C86BC7F8-BE8A-2A57-9A43-5B839FDF3510}"/>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04A708E-FA79-4108-5023-BC1B51A3C41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62333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F9CC2-6C74-9A92-8B68-D559CC521CE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7184E4-6E75-321A-B96B-A9FF5C0D8DA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B1C461E-E8FD-C21C-1FE1-596FE55AA95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45719AB-D35D-BD8D-0AD5-969659DA854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37C817D1-1A9F-71DC-C2FA-268E8E6D76E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F54CA33-3525-6C8A-FDEA-5B11CC57EB5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49225A8-777B-A9E9-5F9E-2710C228B92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9BE55DC-087F-0C13-37BE-1104DC7FA1A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1AA6BC6-D3EC-8246-288A-002ABB57E55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C2CDB70-3E73-30D0-49D5-91A4BACFA185}"/>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0811672E-29DB-76B9-44AF-14DCE156200F}"/>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a:extLst>
              <a:ext uri="{FF2B5EF4-FFF2-40B4-BE49-F238E27FC236}">
                <a16:creationId xmlns:a16="http://schemas.microsoft.com/office/drawing/2014/main" id="{935FA8D8-AF26-10F3-B606-EBFCD0077FC5}"/>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66E03FB-2430-DC0D-74CF-85DA25CCB0F2}"/>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E75403D6-E684-4BEC-2DBE-264F3EE97053}"/>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7847DB9A-E4FE-94C5-5A37-17706D7A85AF}"/>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05605232-F690-21D3-38F9-8DAAB5A2F023}"/>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F8BE8115-FCA7-2F72-AA27-C49812063F13}"/>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D1126C68-DB1B-33A3-09DE-B1FC2C1123D5}"/>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33F080F0-6588-BCFE-A044-DE1D41BD65B9}"/>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96EF5029-C8CC-0351-E323-1053B93E2167}"/>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5448413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EC1C2-8485-62D4-F979-A1579CB13BD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FDDEE69-5F8B-3C9D-C4C3-091B1697C96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BA1BCF4-EB25-29BB-BAC0-6710F0E7642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D4CEEB8-2883-30B2-E7A4-5AD03083B9F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245DF92-182E-F58C-7942-CEFC4EC97AC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D6AA6701-AF11-AEF4-67EC-BF9DF1A5EBE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a:extLst>
              <a:ext uri="{FF2B5EF4-FFF2-40B4-BE49-F238E27FC236}">
                <a16:creationId xmlns:a16="http://schemas.microsoft.com/office/drawing/2014/main" id="{1CAE4201-18A0-C0D8-1FD2-5D9AA62C062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6975AE8-E0BB-75E8-4DC6-C6306CC8122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2308E72-1B6E-E4C7-EDB1-EFC4E736728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1F7D7F3-5829-B61B-A137-0E373457DC0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5C2859-1CBC-D1D1-9A0C-3447F55C27BF}"/>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EFE61487-EB5A-1D63-D4F0-F842F23F44BE}"/>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041298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C8C5D-F7FE-2589-51E3-362A7EC8BAD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4A4FE7D-718A-9521-BC4A-E44C410C515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8795F49-86C6-66CC-A1D7-20D9989695A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D2DE5F9-AE0B-F265-D2CA-6BF62C745E4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CCF0AEC-5443-2182-0CA7-2514D32F4AD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A8CFFAB6-BF98-1DBB-B043-2DCA02AE4070}"/>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a:extLst>
              <a:ext uri="{FF2B5EF4-FFF2-40B4-BE49-F238E27FC236}">
                <a16:creationId xmlns:a16="http://schemas.microsoft.com/office/drawing/2014/main" id="{B154005D-00DA-7F93-4A6B-471C6A7E088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0F5C6D2-B939-E2CF-7C4C-84C6075E4CAB}"/>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9984A1E-2804-FFF6-C22B-23B9EAB431B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705FB0D-EE98-9661-3F42-5B1BD8E39B9A}"/>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C1A333E3-50E6-A9DB-4FC0-9FC238AF3271}"/>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75110882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55E57-0688-8579-7BFE-D1E737C0FDC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EF149E8-5AEF-383A-7AE3-C8458ECFBCC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E43C800-0933-8889-3190-F4CEC7C6707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E73C8ED-A409-DDF6-1C2A-13A7A529205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BB1B3E76-CF61-8734-94C2-34DE957DC52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DFF6510-8769-63F2-31E0-7CC01CDEA60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BD01A9C-CE35-F97D-46D4-64153729896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241A455-F3AA-E4EA-8948-5F30BF86796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99D7678-FFBF-57D0-A3BE-BC26B6542D8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B68878B-EA9A-7C54-5A21-40ACD6666C46}"/>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F8F1F0C6-8914-3B33-130D-7665E18CE7C7}"/>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a:extLst>
              <a:ext uri="{FF2B5EF4-FFF2-40B4-BE49-F238E27FC236}">
                <a16:creationId xmlns:a16="http://schemas.microsoft.com/office/drawing/2014/main" id="{70A95A62-1E4A-5BDC-905F-FF3AF12683D8}"/>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DB7F42B-D45E-7984-4DDF-C1E3B150A497}"/>
              </a:ext>
            </a:extLst>
          </p:cNvPr>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2D8672BF-E76D-CE8A-482A-336CE06AD14B}"/>
              </a:ext>
            </a:extLst>
          </p:cNvPr>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B4DB25FB-F801-3771-6AC7-83FC97C44CF3}"/>
              </a:ext>
            </a:extLst>
          </p:cNvPr>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117752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EEF08-058C-8D22-9E5C-EA5773A4027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E084EA0-F130-7A76-3B34-922BA62FD47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AAA865A-BB3E-5278-2AB5-36711EA0717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3AFDA54-DB62-BD33-7944-EF6E72145A5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B36D47C-BBC7-E393-57BD-830FBE3CE30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25DCF4E-517F-C563-7E79-FBD94699790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a:extLst>
              <a:ext uri="{FF2B5EF4-FFF2-40B4-BE49-F238E27FC236}">
                <a16:creationId xmlns:a16="http://schemas.microsoft.com/office/drawing/2014/main" id="{13860D23-BC8C-A65B-3FC1-1FF8C2BBA8D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8491B14-BCF0-130A-0438-6A02C1ABF46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8D11520-1994-6CEB-9289-FF1F26D2D09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12865FB-78B3-3C3E-2E0D-61C06D9D1BD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E8810CF-E930-072E-ACD5-977152BEEE99}"/>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57E9184D-0511-36DA-4534-8B427A55E99C}"/>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26834832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B143C-FA7F-EF1C-844B-9A62B276006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8722F5A-0781-0215-8AA2-3A4F2055070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9873D50A-019B-C6B1-7594-BE68B5CD2B1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29137CF9-BBA0-1348-1D38-BC850F33B333}"/>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3C5F3DF0-09EB-A921-26F6-B2BFACAF677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16237B8-6765-E8C7-CE9C-733591462CD3}"/>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98CB96CB-FDDD-0C47-ACB3-14404318103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8ED9574-C2EF-718E-DC25-D5045B165EA5}"/>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996920EE-2F56-BE4A-D452-7E9B00AD9861}"/>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3" name="TextBox Y">
            <a:extLst>
              <a:ext uri="{FF2B5EF4-FFF2-40B4-BE49-F238E27FC236}">
                <a16:creationId xmlns:a16="http://schemas.microsoft.com/office/drawing/2014/main" id="{DB4E268E-7C7F-844E-74CE-51C10A4704B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218318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DD7F5-0DA9-2F43-5022-B57DC144052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3502042-AD5C-3FB5-EC47-4C01BF4DDBF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B97DAE5-7D5E-FA4A-E1A8-08337A3A6AA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2273B22-3DF8-CF2C-C91C-BEF8C716AD9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1363CA3F-3AA0-F663-7792-C37814B826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581F4CA-BBB8-808F-EC21-836E61CD413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5433828-958D-4512-8BEB-6AFE6BBB276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F4DBF89-B1CB-FA63-A6F4-2ED80DC2ACD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99584EA-67ED-E829-D570-F4AEB3B7450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7DE7FD2-00E3-CC37-EABC-FC334642B95A}"/>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234074A7-3829-7725-AD80-4D7636489C4B}"/>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a:extLst>
              <a:ext uri="{FF2B5EF4-FFF2-40B4-BE49-F238E27FC236}">
                <a16:creationId xmlns:a16="http://schemas.microsoft.com/office/drawing/2014/main" id="{25E2F636-A99B-FA1B-3983-F02A9D6F1C4D}"/>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913E0ACD-6DF9-72AF-9DEA-7A8A5786AB2C}"/>
              </a:ext>
            </a:extLst>
          </p:cNvPr>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E17C2479-2F3B-5B89-1EBD-056FC6232558}"/>
              </a:ext>
            </a:extLst>
          </p:cNvPr>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5F9CC5F1-B2F6-5902-59A8-9D167E27271E}"/>
              </a:ext>
            </a:extLst>
          </p:cNvPr>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3E279522-8A9C-A5E2-C49D-CA965334905A}"/>
              </a:ext>
            </a:extLst>
          </p:cNvPr>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3879EA52-D051-1C52-9B64-8086CECDED4A}"/>
              </a:ext>
            </a:extLst>
          </p:cNvPr>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597753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7697-2414-434C-123E-6393D1D2666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9BA14E2-A216-060D-4557-4DF3CD60A07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7971292-5C86-F19F-54F7-AC38FA0D9F4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48DEF03-B7D5-DD6E-106E-1639D299873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966C027-3EED-3908-241A-2B0BA8F5B61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9C49110-C93F-D553-CAA6-6F49CD4EE34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a:extLst>
              <a:ext uri="{FF2B5EF4-FFF2-40B4-BE49-F238E27FC236}">
                <a16:creationId xmlns:a16="http://schemas.microsoft.com/office/drawing/2014/main" id="{CC8DEF72-EAD1-7139-2EF0-D06AC4A7EF4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AFBB4BD-568E-4596-8427-D42B12562B2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A967A95-EF61-18F5-ACE3-FAB8BC67CC2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4EFAF79-36A6-E89F-1376-5EE622417E1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DED3F3C-7B65-3F69-2362-42A7CDEF4707}"/>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DF9E1D4A-0C02-1E18-42A9-3E28FF8A0EB4}"/>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84653044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E58AB-18A6-6944-1658-C7CD92B9002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F1B13C9-A7D8-3690-FED1-17C7260444B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199817E-3182-9DBA-03A9-78E02CFECF3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FF43619B-F5FD-C86E-AB47-51C8F5F3C724}"/>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6F3FD52D-B4DC-4FB9-DBCA-BE8674AA744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C5A6139-4142-7F63-1E59-FF1D818F27C1}"/>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ADAA5E4-E492-A43B-0A3B-7858F603139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E4B9420-C12D-04AE-3CFE-73D3E9343516}"/>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8F0EEE28-41E0-024A-F2DC-32B26E352929}"/>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3" name="TextBox Y">
            <a:extLst>
              <a:ext uri="{FF2B5EF4-FFF2-40B4-BE49-F238E27FC236}">
                <a16:creationId xmlns:a16="http://schemas.microsoft.com/office/drawing/2014/main" id="{57EFECF2-8647-79B5-D16C-EFBA688FE16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769807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74D56-1044-EF45-41CA-354B159E83C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71028B6-B592-B9D5-F179-81FF01137A8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C5D5F94-5281-0E03-1B09-B934B261438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3AA9915-883B-2935-E562-31F7BBB570B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3277D0C2-D579-A890-F84D-3C8CF208674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74B7AF2-F51C-AAE7-D248-69950287D70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833DF4A-7608-C12D-5784-48AEF74DBEA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A407DF6-1002-F684-C59D-D121C835D68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0A3B0B9-6FFA-1A62-82A5-8FA1D9B12A1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917DF47-C831-2DD8-8ED0-B6AE27E3C028}"/>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FBB0737F-5988-B7E7-91A7-47A54E1EEE5D}"/>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a:extLst>
              <a:ext uri="{FF2B5EF4-FFF2-40B4-BE49-F238E27FC236}">
                <a16:creationId xmlns:a16="http://schemas.microsoft.com/office/drawing/2014/main" id="{9AF5E933-816D-D040-A104-D72842F2807F}"/>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046722F-DBF2-DE53-D99B-9B10A95B9CE7}"/>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357CB20E-C97D-F97E-BADB-5736302FA278}"/>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0C91BDF-D270-7942-131D-5B98754A15E3}"/>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1896CDC4-E29A-8148-D9FA-E3144B370D82}"/>
              </a:ext>
            </a:extLst>
          </p:cNvPr>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877F2588-CC37-1379-A72C-DFD51D482DB1}"/>
              </a:ext>
            </a:extLst>
          </p:cNvPr>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600740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07016-3411-EA70-6E07-4C733922525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2C65D83-5F33-784A-005B-EA071356083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B27AC73-A47A-2E40-1C70-416AAD91C64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5A71E3C-D9B3-13AF-801B-3E20D963728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F69437D-AB0B-0E73-0962-ECA39823907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385B6B3-DC6C-36C1-030F-7C294D21EDF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a:extLst>
              <a:ext uri="{FF2B5EF4-FFF2-40B4-BE49-F238E27FC236}">
                <a16:creationId xmlns:a16="http://schemas.microsoft.com/office/drawing/2014/main" id="{08398EDB-BD83-B6F1-A3DD-A0A55E6E10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0D9DBE0-E8BE-9DBF-20B8-77C43F79B5E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498921F-C287-8DAC-3ABA-236057EFB16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9D87030-7D66-965A-8418-1396271BF8E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D41D8F3-CA9F-7AE8-6579-E650FB9F4B89}"/>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DF8982F2-2907-5862-0FD9-D3BD3FFFDD7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3820103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6963C-4359-6D3C-3D5C-BD40800D8A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805F9C6-4DD9-6D48-6363-C8112C878A7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5B9BC9F-DDB1-D284-C94F-93D5CB503D4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013C43C-64AC-99BF-DE0A-4D69D657476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010AC62C-C8D5-0264-4C67-666CDEED874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8F4AB5D-A42A-9E38-3AC6-E3D1A95F079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275C4A7-6DED-7C46-358B-10090EEFB84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B0FAD2F-2B8D-AFCA-0F56-EDC30384FF6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C5287FD-D873-CF21-7CFB-B31AB5984B5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029464-DBFE-348F-0886-C56AF42A1CB5}"/>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898C9BAB-32A1-964D-F34B-0B8CDEDA2F1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a:extLst>
              <a:ext uri="{FF2B5EF4-FFF2-40B4-BE49-F238E27FC236}">
                <a16:creationId xmlns:a16="http://schemas.microsoft.com/office/drawing/2014/main" id="{A9036F80-1C70-2E9E-0B57-BDD411E26810}"/>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6F19A635-8123-6891-8081-43F9C48405B6}"/>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AFA63148-009A-3BA2-C6D9-7ED843F91A1D}"/>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401755D-5C0B-BE3E-768C-70DA5878940D}"/>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5BA95810-E17E-AB4D-2869-68F0C4C68F86}"/>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4B267B56-98EC-3B8C-CF5A-63B7754EC40D}"/>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5CEAC3D1-3B8D-B87E-B0A0-9B9743015391}"/>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635862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71AED1-D7E8-A206-DE0C-7AEA9678004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867AE67-D63D-4F19-06CC-323ECFE7DF1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2343FFB-8EE3-BE76-CA8A-AE69EC6CD63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21F182E-2692-BEFC-8B2B-4677622B9B6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09FE051-F020-C1DE-4B9C-DCCD658D9F0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C1AB225-2BB4-C9F4-A6C3-57225A018C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a:extLst>
              <a:ext uri="{FF2B5EF4-FFF2-40B4-BE49-F238E27FC236}">
                <a16:creationId xmlns:a16="http://schemas.microsoft.com/office/drawing/2014/main" id="{DFF1A526-1CE2-1866-938D-521A4FF932B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1036E52-2DC6-B0B8-E380-A46A5EA0204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D263F57-CB3B-53BD-FD35-6138152B430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A2D1683-2DA5-3633-CBAE-AB308D86F10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0517693-0CB9-8144-9ADD-DC19E0B59DA9}"/>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31AE393C-08CB-BDAA-F563-DF7D05626AF2}"/>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745292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7</TotalTime>
  <Words>25853</Words>
  <Application>Microsoft Office PowerPoint</Application>
  <PresentationFormat>On-screen Show (16:9)</PresentationFormat>
  <Paragraphs>5866</Paragraphs>
  <Slides>144</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6" baseType="lpstr">
      <vt:lpstr>Aptos</vt:lpstr>
      <vt:lpstr>Arial</vt:lpstr>
      <vt:lpstr>Cambria Math</vt:lpstr>
      <vt:lpstr>Nexa</vt:lpstr>
      <vt:lpstr>Nexa Bold</vt:lpstr>
      <vt:lpstr>Nexa Book</vt:lpstr>
      <vt:lpstr>Nexa Book (Body)</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SE Slide (Replace with So What)</vt:lpstr>
      <vt:lpstr>SE Slide (Replace with So What)</vt:lpstr>
      <vt:lpstr>SE Slide (Replace with So What)</vt:lpstr>
      <vt:lpstr>SE Slide (Replace with So What)</vt:lpstr>
      <vt:lpstr>SE Slide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25</cp:revision>
  <dcterms:created xsi:type="dcterms:W3CDTF">2024-07-08T12:09:12Z</dcterms:created>
  <dcterms:modified xsi:type="dcterms:W3CDTF">2025-08-25T20:5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